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7" r:id="rId5"/>
    <p:sldId id="264" r:id="rId6"/>
    <p:sldId id="265" r:id="rId7"/>
    <p:sldId id="269" r:id="rId8"/>
    <p:sldId id="267" r:id="rId9"/>
    <p:sldId id="266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D66465-727F-431B-BC5A-9EA6EE3BDA74}" v="3" vWet="5" dt="2024-03-12T22:41:28.343"/>
    <p1510:client id="{61AF4C04-BD51-469D-B04C-B21CC12AAD94}" v="71" vWet="72" dt="2024-03-11T22:55:58.206"/>
    <p1510:client id="{AAB44CB5-4296-48D5-ADFB-D18134F819D6}" v="3873" dt="2024-03-12T22:41:59.225"/>
  </p1510:revLst>
</p1510:revInfo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um, Trevor" userId="ea497f8c-77ec-4ae7-8a2f-220bdd5585a7" providerId="ADAL" clId="{2ED66465-727F-431B-BC5A-9EA6EE3BDA74}"/>
    <pc:docChg chg="custSel modSld">
      <pc:chgData name="Baum, Trevor" userId="ea497f8c-77ec-4ae7-8a2f-220bdd5585a7" providerId="ADAL" clId="{2ED66465-727F-431B-BC5A-9EA6EE3BDA74}" dt="2024-03-12T22:09:05.274" v="0" actId="313"/>
      <pc:docMkLst>
        <pc:docMk/>
      </pc:docMkLst>
      <pc:sldChg chg="modNotesTx">
        <pc:chgData name="Baum, Trevor" userId="ea497f8c-77ec-4ae7-8a2f-220bdd5585a7" providerId="ADAL" clId="{2ED66465-727F-431B-BC5A-9EA6EE3BDA74}" dt="2024-03-12T22:09:05.274" v="0" actId="313"/>
        <pc:sldMkLst>
          <pc:docMk/>
          <pc:sldMk cId="298761182" sldId="269"/>
        </pc:sldMkLst>
      </pc:sldChg>
    </pc:docChg>
  </pc:docChgLst>
  <pc:docChgLst>
    <pc:chgData name="Nicholas Carson" userId="9cef14a6-3c3c-4d90-8630-466ba49183cb" providerId="ADAL" clId="{AAB44CB5-4296-48D5-ADFB-D18134F819D6}"/>
    <pc:docChg chg="undo custSel addSld delSld modSld sldOrd modMainMaster replTag">
      <pc:chgData name="Nicholas Carson" userId="9cef14a6-3c3c-4d90-8630-466ba49183cb" providerId="ADAL" clId="{AAB44CB5-4296-48D5-ADFB-D18134F819D6}" dt="2024-03-12T22:41:59.225" v="6652" actId="20577"/>
      <pc:docMkLst>
        <pc:docMk/>
      </pc:docMkLst>
      <pc:sldChg chg="addSp delSp modSp mod">
        <pc:chgData name="Nicholas Carson" userId="9cef14a6-3c3c-4d90-8630-466ba49183cb" providerId="ADAL" clId="{AAB44CB5-4296-48D5-ADFB-D18134F819D6}" dt="2024-03-08T20:35:59.548" v="236" actId="20577"/>
        <pc:sldMkLst>
          <pc:docMk/>
          <pc:sldMk cId="435195399" sldId="257"/>
        </pc:sldMkLst>
        <pc:spChg chg="mod">
          <ac:chgData name="Nicholas Carson" userId="9cef14a6-3c3c-4d90-8630-466ba49183cb" providerId="ADAL" clId="{AAB44CB5-4296-48D5-ADFB-D18134F819D6}" dt="2024-03-08T20:35:46.482" v="176" actId="948"/>
          <ac:spMkLst>
            <pc:docMk/>
            <pc:sldMk cId="435195399" sldId="257"/>
            <ac:spMk id="2" creationId="{BF463CB3-2956-E8D2-C23D-A3BAA7295DEC}"/>
          </ac:spMkLst>
        </pc:spChg>
        <pc:spChg chg="mod">
          <ac:chgData name="Nicholas Carson" userId="9cef14a6-3c3c-4d90-8630-466ba49183cb" providerId="ADAL" clId="{AAB44CB5-4296-48D5-ADFB-D18134F819D6}" dt="2024-03-08T20:35:59.548" v="236" actId="20577"/>
          <ac:spMkLst>
            <pc:docMk/>
            <pc:sldMk cId="435195399" sldId="257"/>
            <ac:spMk id="3" creationId="{FEECEBD4-35BF-26BB-D438-DA43EBD5EE89}"/>
          </ac:spMkLst>
        </pc:spChg>
        <pc:spChg chg="add del mod modVis">
          <ac:chgData name="Nicholas Carson" userId="9cef14a6-3c3c-4d90-8630-466ba49183cb" providerId="ADAL" clId="{AAB44CB5-4296-48D5-ADFB-D18134F819D6}" dt="2024-03-08T20:35:40.401" v="96"/>
          <ac:spMkLst>
            <pc:docMk/>
            <pc:sldMk cId="435195399" sldId="257"/>
            <ac:spMk id="5" creationId="{02741C1C-60D4-4BA5-7BFF-D5A00A0E16F2}"/>
          </ac:spMkLst>
        </pc:spChg>
        <pc:spChg chg="add del mod modVis">
          <ac:chgData name="Nicholas Carson" userId="9cef14a6-3c3c-4d90-8630-466ba49183cb" providerId="ADAL" clId="{AAB44CB5-4296-48D5-ADFB-D18134F819D6}" dt="2024-03-08T20:35:41.123" v="125"/>
          <ac:spMkLst>
            <pc:docMk/>
            <pc:sldMk cId="435195399" sldId="257"/>
            <ac:spMk id="6" creationId="{BB3E3B89-318C-6367-66B8-41ED36055C7B}"/>
          </ac:spMkLst>
        </pc:spChg>
        <pc:spChg chg="add del mod modVis">
          <ac:chgData name="Nicholas Carson" userId="9cef14a6-3c3c-4d90-8630-466ba49183cb" providerId="ADAL" clId="{AAB44CB5-4296-48D5-ADFB-D18134F819D6}" dt="2024-03-08T20:35:41.746" v="154"/>
          <ac:spMkLst>
            <pc:docMk/>
            <pc:sldMk cId="435195399" sldId="257"/>
            <ac:spMk id="7" creationId="{629F5735-64E2-62D1-0A63-DCDBBA3B0AC5}"/>
          </ac:spMkLst>
        </pc:spChg>
        <pc:spChg chg="add del mod modVis">
          <ac:chgData name="Nicholas Carson" userId="9cef14a6-3c3c-4d90-8630-466ba49183cb" providerId="ADAL" clId="{AAB44CB5-4296-48D5-ADFB-D18134F819D6}" dt="2024-03-08T20:35:46.512" v="201"/>
          <ac:spMkLst>
            <pc:docMk/>
            <pc:sldMk cId="435195399" sldId="257"/>
            <ac:spMk id="8" creationId="{FC78F68F-F3D3-2087-3455-0F92D1A2E377}"/>
          </ac:spMkLst>
        </pc:spChg>
        <pc:graphicFrameChg chg="add mod ord modVis replST">
          <ac:chgData name="Nicholas Carson" userId="9cef14a6-3c3c-4d90-8630-466ba49183cb" providerId="ADAL" clId="{AAB44CB5-4296-48D5-ADFB-D18134F819D6}" dt="2024-03-08T20:35:46.515" v="203"/>
          <ac:graphicFrameMkLst>
            <pc:docMk/>
            <pc:sldMk cId="435195399" sldId="257"/>
            <ac:graphicFrameMk id="4" creationId="{6DC7EFC1-7836-9655-39D4-53DDD34D011C}"/>
          </ac:graphicFrameMkLst>
        </pc:graphicFrameChg>
      </pc:sldChg>
      <pc:sldChg chg="del">
        <pc:chgData name="Nicholas Carson" userId="9cef14a6-3c3c-4d90-8630-466ba49183cb" providerId="ADAL" clId="{AAB44CB5-4296-48D5-ADFB-D18134F819D6}" dt="2024-03-12T00:10:46.726" v="5019" actId="2696"/>
        <pc:sldMkLst>
          <pc:docMk/>
          <pc:sldMk cId="1210802199" sldId="262"/>
        </pc:sldMkLst>
      </pc:sldChg>
      <pc:sldChg chg="addSp delSp modSp mod ord">
        <pc:chgData name="Nicholas Carson" userId="9cef14a6-3c3c-4d90-8630-466ba49183cb" providerId="ADAL" clId="{AAB44CB5-4296-48D5-ADFB-D18134F819D6}" dt="2024-03-12T22:41:59.225" v="6652" actId="20577"/>
        <pc:sldMkLst>
          <pc:docMk/>
          <pc:sldMk cId="837402205" sldId="264"/>
        </pc:sldMkLst>
        <pc:spChg chg="mod">
          <ac:chgData name="Nicholas Carson" userId="9cef14a6-3c3c-4d90-8630-466ba49183cb" providerId="ADAL" clId="{AAB44CB5-4296-48D5-ADFB-D18134F819D6}" dt="2024-03-11T23:38:20.174" v="3711" actId="948"/>
          <ac:spMkLst>
            <pc:docMk/>
            <pc:sldMk cId="837402205" sldId="264"/>
            <ac:spMk id="2" creationId="{47A9874B-BCA9-8420-1595-EDD1865A099A}"/>
          </ac:spMkLst>
        </pc:spChg>
        <pc:spChg chg="del">
          <ac:chgData name="Nicholas Carson" userId="9cef14a6-3c3c-4d90-8630-466ba49183cb" providerId="ADAL" clId="{AAB44CB5-4296-48D5-ADFB-D18134F819D6}" dt="2024-03-11T23:12:36.797" v="2230" actId="478"/>
          <ac:spMkLst>
            <pc:docMk/>
            <pc:sldMk cId="837402205" sldId="264"/>
            <ac:spMk id="3" creationId="{68A5FD2B-E3E5-1C2B-0151-21F216B14A33}"/>
          </ac:spMkLst>
        </pc:spChg>
        <pc:spChg chg="mod">
          <ac:chgData name="Nicholas Carson" userId="9cef14a6-3c3c-4d90-8630-466ba49183cb" providerId="ADAL" clId="{AAB44CB5-4296-48D5-ADFB-D18134F819D6}" dt="2024-03-12T22:41:59.225" v="6652" actId="20577"/>
          <ac:spMkLst>
            <pc:docMk/>
            <pc:sldMk cId="837402205" sldId="264"/>
            <ac:spMk id="4" creationId="{ACFBB810-3430-2C29-1AA0-9744AA0A1AA3}"/>
          </ac:spMkLst>
        </pc:spChg>
        <pc:spChg chg="add del mod modVis">
          <ac:chgData name="Nicholas Carson" userId="9cef14a6-3c3c-4d90-8630-466ba49183cb" providerId="ADAL" clId="{AAB44CB5-4296-48D5-ADFB-D18134F819D6}" dt="2024-03-08T20:36:10.020" v="291"/>
          <ac:spMkLst>
            <pc:docMk/>
            <pc:sldMk cId="837402205" sldId="264"/>
            <ac:spMk id="6" creationId="{BBEB72EB-CF2B-ECAC-4EF2-1FD874FBD7DF}"/>
          </ac:spMkLst>
        </pc:spChg>
        <pc:spChg chg="add del mod modVis">
          <ac:chgData name="Nicholas Carson" userId="9cef14a6-3c3c-4d90-8630-466ba49183cb" providerId="ADAL" clId="{AAB44CB5-4296-48D5-ADFB-D18134F819D6}" dt="2024-03-08T20:36:10.875" v="321"/>
          <ac:spMkLst>
            <pc:docMk/>
            <pc:sldMk cId="837402205" sldId="264"/>
            <ac:spMk id="7" creationId="{70E6511D-72A7-99C8-A868-942A863E23E0}"/>
          </ac:spMkLst>
        </pc:spChg>
        <pc:spChg chg="add del mod modVis">
          <ac:chgData name="Nicholas Carson" userId="9cef14a6-3c3c-4d90-8630-466ba49183cb" providerId="ADAL" clId="{AAB44CB5-4296-48D5-ADFB-D18134F819D6}" dt="2024-03-08T20:36:14.416" v="372"/>
          <ac:spMkLst>
            <pc:docMk/>
            <pc:sldMk cId="837402205" sldId="264"/>
            <ac:spMk id="8" creationId="{51B93C52-18AB-E930-B09A-E96EFFA96EC8}"/>
          </ac:spMkLst>
        </pc:spChg>
        <pc:spChg chg="add del mod modVis">
          <ac:chgData name="Nicholas Carson" userId="9cef14a6-3c3c-4d90-8630-466ba49183cb" providerId="ADAL" clId="{AAB44CB5-4296-48D5-ADFB-D18134F819D6}" dt="2024-03-08T20:36:19.048" v="408"/>
          <ac:spMkLst>
            <pc:docMk/>
            <pc:sldMk cId="837402205" sldId="264"/>
            <ac:spMk id="9" creationId="{6DC21586-A75F-C85E-7A01-2710E782AEF8}"/>
          </ac:spMkLst>
        </pc:spChg>
        <pc:spChg chg="add del mod modVis">
          <ac:chgData name="Nicholas Carson" userId="9cef14a6-3c3c-4d90-8630-466ba49183cb" providerId="ADAL" clId="{AAB44CB5-4296-48D5-ADFB-D18134F819D6}" dt="2024-03-08T20:36:19.723" v="437"/>
          <ac:spMkLst>
            <pc:docMk/>
            <pc:sldMk cId="837402205" sldId="264"/>
            <ac:spMk id="10" creationId="{197F0B8D-2CCF-BE1C-A04B-8358631A06C5}"/>
          </ac:spMkLst>
        </pc:spChg>
        <pc:spChg chg="add del mod modVis">
          <ac:chgData name="Nicholas Carson" userId="9cef14a6-3c3c-4d90-8630-466ba49183cb" providerId="ADAL" clId="{AAB44CB5-4296-48D5-ADFB-D18134F819D6}" dt="2024-03-11T15:02:04.874" v="1500"/>
          <ac:spMkLst>
            <pc:docMk/>
            <pc:sldMk cId="837402205" sldId="264"/>
            <ac:spMk id="11" creationId="{B60B43DC-0CD6-8612-BE6A-E3CA56DD89A6}"/>
          </ac:spMkLst>
        </pc:spChg>
        <pc:spChg chg="add del mod modVis">
          <ac:chgData name="Nicholas Carson" userId="9cef14a6-3c3c-4d90-8630-466ba49183cb" providerId="ADAL" clId="{AAB44CB5-4296-48D5-ADFB-D18134F819D6}" dt="2024-03-11T23:37:23.605" v="3282"/>
          <ac:spMkLst>
            <pc:docMk/>
            <pc:sldMk cId="837402205" sldId="264"/>
            <ac:spMk id="12" creationId="{0A053C3C-FBBE-C791-D234-B5E3375D20FB}"/>
          </ac:spMkLst>
        </pc:spChg>
        <pc:spChg chg="add del mod modVis">
          <ac:chgData name="Nicholas Carson" userId="9cef14a6-3c3c-4d90-8630-466ba49183cb" providerId="ADAL" clId="{AAB44CB5-4296-48D5-ADFB-D18134F819D6}" dt="2024-03-11T23:37:40.996" v="3354"/>
          <ac:spMkLst>
            <pc:docMk/>
            <pc:sldMk cId="837402205" sldId="264"/>
            <ac:spMk id="13" creationId="{38111EBC-7674-DADB-3806-DFAFE50F0284}"/>
          </ac:spMkLst>
        </pc:spChg>
        <pc:spChg chg="add del mod modVis">
          <ac:chgData name="Nicholas Carson" userId="9cef14a6-3c3c-4d90-8630-466ba49183cb" providerId="ADAL" clId="{AAB44CB5-4296-48D5-ADFB-D18134F819D6}" dt="2024-03-11T23:37:43.084" v="3384"/>
          <ac:spMkLst>
            <pc:docMk/>
            <pc:sldMk cId="837402205" sldId="264"/>
            <ac:spMk id="14" creationId="{91D5F40A-AC6C-7178-C4F7-82A580B109C1}"/>
          </ac:spMkLst>
        </pc:spChg>
        <pc:spChg chg="add del mod modVis">
          <ac:chgData name="Nicholas Carson" userId="9cef14a6-3c3c-4d90-8630-466ba49183cb" providerId="ADAL" clId="{AAB44CB5-4296-48D5-ADFB-D18134F819D6}" dt="2024-03-11T23:37:44.267" v="3414"/>
          <ac:spMkLst>
            <pc:docMk/>
            <pc:sldMk cId="837402205" sldId="264"/>
            <ac:spMk id="15" creationId="{50576688-58F7-6DCE-DF91-C2848C4468D9}"/>
          </ac:spMkLst>
        </pc:spChg>
        <pc:spChg chg="add del mod modVis">
          <ac:chgData name="Nicholas Carson" userId="9cef14a6-3c3c-4d90-8630-466ba49183cb" providerId="ADAL" clId="{AAB44CB5-4296-48D5-ADFB-D18134F819D6}" dt="2024-03-11T23:37:45.461" v="3446"/>
          <ac:spMkLst>
            <pc:docMk/>
            <pc:sldMk cId="837402205" sldId="264"/>
            <ac:spMk id="16" creationId="{973EA144-FDE6-6EDE-FB30-2703BF37BFFB}"/>
          </ac:spMkLst>
        </pc:spChg>
        <pc:spChg chg="add del mod modVis">
          <ac:chgData name="Nicholas Carson" userId="9cef14a6-3c3c-4d90-8630-466ba49183cb" providerId="ADAL" clId="{AAB44CB5-4296-48D5-ADFB-D18134F819D6}" dt="2024-03-11T23:37:47.868" v="3482"/>
          <ac:spMkLst>
            <pc:docMk/>
            <pc:sldMk cId="837402205" sldId="264"/>
            <ac:spMk id="17" creationId="{D1A07C69-AC1E-F106-A5CD-64A2981724F2}"/>
          </ac:spMkLst>
        </pc:spChg>
        <pc:spChg chg="add del mod modVis">
          <ac:chgData name="Nicholas Carson" userId="9cef14a6-3c3c-4d90-8630-466ba49183cb" providerId="ADAL" clId="{AAB44CB5-4296-48D5-ADFB-D18134F819D6}" dt="2024-03-11T23:37:50.525" v="3511"/>
          <ac:spMkLst>
            <pc:docMk/>
            <pc:sldMk cId="837402205" sldId="264"/>
            <ac:spMk id="18" creationId="{B44FAECD-5FA9-2F78-8B38-0208515DF321}"/>
          </ac:spMkLst>
        </pc:spChg>
        <pc:spChg chg="add del mod modVis">
          <ac:chgData name="Nicholas Carson" userId="9cef14a6-3c3c-4d90-8630-466ba49183cb" providerId="ADAL" clId="{AAB44CB5-4296-48D5-ADFB-D18134F819D6}" dt="2024-03-11T23:38:11.479" v="3541"/>
          <ac:spMkLst>
            <pc:docMk/>
            <pc:sldMk cId="837402205" sldId="264"/>
            <ac:spMk id="19" creationId="{B102848F-91D4-128E-9271-496F5A77E505}"/>
          </ac:spMkLst>
        </pc:spChg>
        <pc:spChg chg="add del mod modVis">
          <ac:chgData name="Nicholas Carson" userId="9cef14a6-3c3c-4d90-8630-466ba49183cb" providerId="ADAL" clId="{AAB44CB5-4296-48D5-ADFB-D18134F819D6}" dt="2024-03-11T23:38:13.836" v="3574"/>
          <ac:spMkLst>
            <pc:docMk/>
            <pc:sldMk cId="837402205" sldId="264"/>
            <ac:spMk id="20" creationId="{5AC01717-34D5-0DDD-25EE-DC3AD5E137C7}"/>
          </ac:spMkLst>
        </pc:spChg>
        <pc:spChg chg="add del mod modVis">
          <ac:chgData name="Nicholas Carson" userId="9cef14a6-3c3c-4d90-8630-466ba49183cb" providerId="ADAL" clId="{AAB44CB5-4296-48D5-ADFB-D18134F819D6}" dt="2024-03-11T23:38:15.121" v="3604"/>
          <ac:spMkLst>
            <pc:docMk/>
            <pc:sldMk cId="837402205" sldId="264"/>
            <ac:spMk id="21" creationId="{E26667E8-3357-E925-BDC2-1D3589C9CF5B}"/>
          </ac:spMkLst>
        </pc:spChg>
        <pc:spChg chg="add del mod modVis">
          <ac:chgData name="Nicholas Carson" userId="9cef14a6-3c3c-4d90-8630-466ba49183cb" providerId="ADAL" clId="{AAB44CB5-4296-48D5-ADFB-D18134F819D6}" dt="2024-03-11T23:38:17.888" v="3644"/>
          <ac:spMkLst>
            <pc:docMk/>
            <pc:sldMk cId="837402205" sldId="264"/>
            <ac:spMk id="22" creationId="{A0AE945C-1DBD-94A6-B3E7-E9224AEC8D1E}"/>
          </ac:spMkLst>
        </pc:spChg>
        <pc:spChg chg="add del mod modVis">
          <ac:chgData name="Nicholas Carson" userId="9cef14a6-3c3c-4d90-8630-466ba49183cb" providerId="ADAL" clId="{AAB44CB5-4296-48D5-ADFB-D18134F819D6}" dt="2024-03-11T23:38:19.165" v="3676"/>
          <ac:spMkLst>
            <pc:docMk/>
            <pc:sldMk cId="837402205" sldId="264"/>
            <ac:spMk id="23" creationId="{F57F05B5-B767-2EB0-3C30-423F928146EF}"/>
          </ac:spMkLst>
        </pc:spChg>
        <pc:spChg chg="add del mod modVis">
          <ac:chgData name="Nicholas Carson" userId="9cef14a6-3c3c-4d90-8630-466ba49183cb" providerId="ADAL" clId="{AAB44CB5-4296-48D5-ADFB-D18134F819D6}" dt="2024-03-11T23:38:19.513" v="3706"/>
          <ac:spMkLst>
            <pc:docMk/>
            <pc:sldMk cId="837402205" sldId="264"/>
            <ac:spMk id="24" creationId="{945FA56C-2888-00C4-C2D7-03DB04EA192F}"/>
          </ac:spMkLst>
        </pc:spChg>
        <pc:spChg chg="add del mod modVis">
          <ac:chgData name="Nicholas Carson" userId="9cef14a6-3c3c-4d90-8630-466ba49183cb" providerId="ADAL" clId="{AAB44CB5-4296-48D5-ADFB-D18134F819D6}" dt="2024-03-11T23:38:20.212" v="3736"/>
          <ac:spMkLst>
            <pc:docMk/>
            <pc:sldMk cId="837402205" sldId="264"/>
            <ac:spMk id="25" creationId="{76C21734-A677-C641-56CD-F81EFD5FED20}"/>
          </ac:spMkLst>
        </pc:spChg>
        <pc:graphicFrameChg chg="add mod ord modVis replST">
          <ac:chgData name="Nicholas Carson" userId="9cef14a6-3c3c-4d90-8630-466ba49183cb" providerId="ADAL" clId="{AAB44CB5-4296-48D5-ADFB-D18134F819D6}" dt="2024-03-11T23:38:20.216" v="3738"/>
          <ac:graphicFrameMkLst>
            <pc:docMk/>
            <pc:sldMk cId="837402205" sldId="264"/>
            <ac:graphicFrameMk id="5" creationId="{83FD5364-F47F-A381-5A4C-A096EE742B56}"/>
          </ac:graphicFrameMkLst>
        </pc:graphicFrameChg>
      </pc:sldChg>
      <pc:sldChg chg="addSp delSp modSp mod">
        <pc:chgData name="Nicholas Carson" userId="9cef14a6-3c3c-4d90-8630-466ba49183cb" providerId="ADAL" clId="{AAB44CB5-4296-48D5-ADFB-D18134F819D6}" dt="2024-03-11T23:36:50.844" v="3252" actId="1076"/>
        <pc:sldMkLst>
          <pc:docMk/>
          <pc:sldMk cId="729609147" sldId="265"/>
        </pc:sldMkLst>
        <pc:spChg chg="mod">
          <ac:chgData name="Nicholas Carson" userId="9cef14a6-3c3c-4d90-8630-466ba49183cb" providerId="ADAL" clId="{AAB44CB5-4296-48D5-ADFB-D18134F819D6}" dt="2024-03-11T23:35:56.725" v="3217" actId="948"/>
          <ac:spMkLst>
            <pc:docMk/>
            <pc:sldMk cId="729609147" sldId="265"/>
            <ac:spMk id="2" creationId="{314C27C8-165C-5513-DB4B-9D840097C545}"/>
          </ac:spMkLst>
        </pc:spChg>
        <pc:spChg chg="del">
          <ac:chgData name="Nicholas Carson" userId="9cef14a6-3c3c-4d90-8630-466ba49183cb" providerId="ADAL" clId="{AAB44CB5-4296-48D5-ADFB-D18134F819D6}" dt="2024-03-11T23:35:29.459" v="3051" actId="478"/>
          <ac:spMkLst>
            <pc:docMk/>
            <pc:sldMk cId="729609147" sldId="265"/>
            <ac:spMk id="3" creationId="{FACE640F-7F5A-BDB7-205D-765FA80B6796}"/>
          </ac:spMkLst>
        </pc:spChg>
        <pc:spChg chg="del">
          <ac:chgData name="Nicholas Carson" userId="9cef14a6-3c3c-4d90-8630-466ba49183cb" providerId="ADAL" clId="{AAB44CB5-4296-48D5-ADFB-D18134F819D6}" dt="2024-03-11T23:35:28.501" v="3050" actId="478"/>
          <ac:spMkLst>
            <pc:docMk/>
            <pc:sldMk cId="729609147" sldId="265"/>
            <ac:spMk id="4" creationId="{83302BFD-960F-CBB3-E984-CDC12813A10C}"/>
          </ac:spMkLst>
        </pc:spChg>
        <pc:spChg chg="add del mod modVis">
          <ac:chgData name="Nicholas Carson" userId="9cef14a6-3c3c-4d90-8630-466ba49183cb" providerId="ADAL" clId="{AAB44CB5-4296-48D5-ADFB-D18134F819D6}" dt="2024-03-08T20:37:43.643" v="484"/>
          <ac:spMkLst>
            <pc:docMk/>
            <pc:sldMk cId="729609147" sldId="265"/>
            <ac:spMk id="5" creationId="{1AB9EF68-BFFC-2E02-8541-B64B79E39C7E}"/>
          </ac:spMkLst>
        </pc:spChg>
        <pc:spChg chg="add del mod modVis">
          <ac:chgData name="Nicholas Carson" userId="9cef14a6-3c3c-4d90-8630-466ba49183cb" providerId="ADAL" clId="{AAB44CB5-4296-48D5-ADFB-D18134F819D6}" dt="2024-03-08T20:37:47.544" v="530"/>
          <ac:spMkLst>
            <pc:docMk/>
            <pc:sldMk cId="729609147" sldId="265"/>
            <ac:spMk id="7" creationId="{35283C3A-937A-0982-E858-45AD6BDD8F55}"/>
          </ac:spMkLst>
        </pc:spChg>
        <pc:spChg chg="add del mod modVis">
          <ac:chgData name="Nicholas Carson" userId="9cef14a6-3c3c-4d90-8630-466ba49183cb" providerId="ADAL" clId="{AAB44CB5-4296-48D5-ADFB-D18134F819D6}" dt="2024-03-08T20:37:48.183" v="559"/>
          <ac:spMkLst>
            <pc:docMk/>
            <pc:sldMk cId="729609147" sldId="265"/>
            <ac:spMk id="8" creationId="{9758D204-8D81-B972-B3FE-447D9386F009}"/>
          </ac:spMkLst>
        </pc:spChg>
        <pc:spChg chg="add del mod modVis">
          <ac:chgData name="Nicholas Carson" userId="9cef14a6-3c3c-4d90-8630-466ba49183cb" providerId="ADAL" clId="{AAB44CB5-4296-48D5-ADFB-D18134F819D6}" dt="2024-03-08T20:37:49.179" v="588"/>
          <ac:spMkLst>
            <pc:docMk/>
            <pc:sldMk cId="729609147" sldId="265"/>
            <ac:spMk id="9" creationId="{F7371E93-674D-9D64-FE38-E31436A10991}"/>
          </ac:spMkLst>
        </pc:spChg>
        <pc:spChg chg="add del mod modVis">
          <ac:chgData name="Nicholas Carson" userId="9cef14a6-3c3c-4d90-8630-466ba49183cb" providerId="ADAL" clId="{AAB44CB5-4296-48D5-ADFB-D18134F819D6}" dt="2024-03-08T20:37:52.972" v="633"/>
          <ac:spMkLst>
            <pc:docMk/>
            <pc:sldMk cId="729609147" sldId="265"/>
            <ac:spMk id="10" creationId="{927B645D-0128-C8B1-B238-82D07A38CE40}"/>
          </ac:spMkLst>
        </pc:spChg>
        <pc:spChg chg="add del mod modVis">
          <ac:chgData name="Nicholas Carson" userId="9cef14a6-3c3c-4d90-8630-466ba49183cb" providerId="ADAL" clId="{AAB44CB5-4296-48D5-ADFB-D18134F819D6}" dt="2024-03-08T20:37:53.676" v="662"/>
          <ac:spMkLst>
            <pc:docMk/>
            <pc:sldMk cId="729609147" sldId="265"/>
            <ac:spMk id="11" creationId="{EEFCCE29-4738-51B4-53F6-3F46D4FF84A2}"/>
          </ac:spMkLst>
        </pc:spChg>
        <pc:spChg chg="add del mod modVis">
          <ac:chgData name="Nicholas Carson" userId="9cef14a6-3c3c-4d90-8630-466ba49183cb" providerId="ADAL" clId="{AAB44CB5-4296-48D5-ADFB-D18134F819D6}" dt="2024-03-08T20:37:54.557" v="692"/>
          <ac:spMkLst>
            <pc:docMk/>
            <pc:sldMk cId="729609147" sldId="265"/>
            <ac:spMk id="12" creationId="{C44C2F96-4792-F5C2-FC4E-2037713560A5}"/>
          </ac:spMkLst>
        </pc:spChg>
        <pc:spChg chg="add del mod modVis">
          <ac:chgData name="Nicholas Carson" userId="9cef14a6-3c3c-4d90-8630-466ba49183cb" providerId="ADAL" clId="{AAB44CB5-4296-48D5-ADFB-D18134F819D6}" dt="2024-03-08T20:37:56.682" v="726"/>
          <ac:spMkLst>
            <pc:docMk/>
            <pc:sldMk cId="729609147" sldId="265"/>
            <ac:spMk id="13" creationId="{D389DA5A-F2F5-C7BC-BF33-E03AE73E46C6}"/>
          </ac:spMkLst>
        </pc:spChg>
        <pc:spChg chg="add del mod modVis">
          <ac:chgData name="Nicholas Carson" userId="9cef14a6-3c3c-4d90-8630-466ba49183cb" providerId="ADAL" clId="{AAB44CB5-4296-48D5-ADFB-D18134F819D6}" dt="2024-03-11T15:02:00.222" v="1471"/>
          <ac:spMkLst>
            <pc:docMk/>
            <pc:sldMk cId="729609147" sldId="265"/>
            <ac:spMk id="14" creationId="{D74CBF40-D1B2-7805-2C51-CA37A562DB53}"/>
          </ac:spMkLst>
        </pc:spChg>
        <pc:spChg chg="add del mod modVis">
          <ac:chgData name="Nicholas Carson" userId="9cef14a6-3c3c-4d90-8630-466ba49183cb" providerId="ADAL" clId="{AAB44CB5-4296-48D5-ADFB-D18134F819D6}" dt="2024-03-11T22:41:29.452" v="1895"/>
          <ac:spMkLst>
            <pc:docMk/>
            <pc:sldMk cId="729609147" sldId="265"/>
            <ac:spMk id="15" creationId="{669EA5A2-A151-C3B5-4EEF-7945EE425CAC}"/>
          </ac:spMkLst>
        </pc:spChg>
        <pc:spChg chg="add del mod modVis">
          <ac:chgData name="Nicholas Carson" userId="9cef14a6-3c3c-4d90-8630-466ba49183cb" providerId="ADAL" clId="{AAB44CB5-4296-48D5-ADFB-D18134F819D6}" dt="2024-03-11T22:41:30.042" v="1925"/>
          <ac:spMkLst>
            <pc:docMk/>
            <pc:sldMk cId="729609147" sldId="265"/>
            <ac:spMk id="16" creationId="{54AB8547-FCC7-896B-4288-58CC9700E00C}"/>
          </ac:spMkLst>
        </pc:spChg>
        <pc:spChg chg="add del mod modVis">
          <ac:chgData name="Nicholas Carson" userId="9cef14a6-3c3c-4d90-8630-466ba49183cb" providerId="ADAL" clId="{AAB44CB5-4296-48D5-ADFB-D18134F819D6}" dt="2024-03-11T22:41:30.685" v="1954"/>
          <ac:spMkLst>
            <pc:docMk/>
            <pc:sldMk cId="729609147" sldId="265"/>
            <ac:spMk id="17" creationId="{D4900F44-9B95-1176-3AAF-C71EBBFAC01D}"/>
          </ac:spMkLst>
        </pc:spChg>
        <pc:spChg chg="add del mod modVis">
          <ac:chgData name="Nicholas Carson" userId="9cef14a6-3c3c-4d90-8630-466ba49183cb" providerId="ADAL" clId="{AAB44CB5-4296-48D5-ADFB-D18134F819D6}" dt="2024-03-11T23:35:33.248" v="3078"/>
          <ac:spMkLst>
            <pc:docMk/>
            <pc:sldMk cId="729609147" sldId="265"/>
            <ac:spMk id="18" creationId="{ED690DE7-E566-142E-042A-C7AAFD22D64D}"/>
          </ac:spMkLst>
        </pc:spChg>
        <pc:spChg chg="add del mod modVis">
          <ac:chgData name="Nicholas Carson" userId="9cef14a6-3c3c-4d90-8630-466ba49183cb" providerId="ADAL" clId="{AAB44CB5-4296-48D5-ADFB-D18134F819D6}" dt="2024-03-11T23:35:34.427" v="3107"/>
          <ac:spMkLst>
            <pc:docMk/>
            <pc:sldMk cId="729609147" sldId="265"/>
            <ac:spMk id="19" creationId="{EDABD531-68BB-CC3F-289D-0528ED821BBF}"/>
          </ac:spMkLst>
        </pc:spChg>
        <pc:spChg chg="add del mod modVis">
          <ac:chgData name="Nicholas Carson" userId="9cef14a6-3c3c-4d90-8630-466ba49183cb" providerId="ADAL" clId="{AAB44CB5-4296-48D5-ADFB-D18134F819D6}" dt="2024-03-11T23:35:45.931" v="3152"/>
          <ac:spMkLst>
            <pc:docMk/>
            <pc:sldMk cId="729609147" sldId="265"/>
            <ac:spMk id="20" creationId="{FB71B267-041F-3997-AA54-E36A16E90A2A}"/>
          </ac:spMkLst>
        </pc:spChg>
        <pc:spChg chg="add del mod modVis">
          <ac:chgData name="Nicholas Carson" userId="9cef14a6-3c3c-4d90-8630-466ba49183cb" providerId="ADAL" clId="{AAB44CB5-4296-48D5-ADFB-D18134F819D6}" dt="2024-03-11T23:35:51.936" v="3213"/>
          <ac:spMkLst>
            <pc:docMk/>
            <pc:sldMk cId="729609147" sldId="265"/>
            <ac:spMk id="21" creationId="{8F7412A0-EA82-7556-D003-BAADE9541E1F}"/>
          </ac:spMkLst>
        </pc:spChg>
        <pc:spChg chg="add del mod modVis">
          <ac:chgData name="Nicholas Carson" userId="9cef14a6-3c3c-4d90-8630-466ba49183cb" providerId="ADAL" clId="{AAB44CB5-4296-48D5-ADFB-D18134F819D6}" dt="2024-03-11T23:35:56.780" v="3242"/>
          <ac:spMkLst>
            <pc:docMk/>
            <pc:sldMk cId="729609147" sldId="265"/>
            <ac:spMk id="22" creationId="{2DE297F3-290B-F773-2A3E-DE03853D571A}"/>
          </ac:spMkLst>
        </pc:spChg>
        <pc:graphicFrameChg chg="add mod ord modVis replST">
          <ac:chgData name="Nicholas Carson" userId="9cef14a6-3c3c-4d90-8630-466ba49183cb" providerId="ADAL" clId="{AAB44CB5-4296-48D5-ADFB-D18134F819D6}" dt="2024-03-11T23:35:56.784" v="3244"/>
          <ac:graphicFrameMkLst>
            <pc:docMk/>
            <pc:sldMk cId="729609147" sldId="265"/>
            <ac:graphicFrameMk id="6" creationId="{FCA74F61-8DA4-0A95-ED57-E5369C9A788E}"/>
          </ac:graphicFrameMkLst>
        </pc:graphicFrameChg>
        <pc:picChg chg="add mod">
          <ac:chgData name="Nicholas Carson" userId="9cef14a6-3c3c-4d90-8630-466ba49183cb" providerId="ADAL" clId="{AAB44CB5-4296-48D5-ADFB-D18134F819D6}" dt="2024-03-11T23:36:46.294" v="3251" actId="1076"/>
          <ac:picMkLst>
            <pc:docMk/>
            <pc:sldMk cId="729609147" sldId="265"/>
            <ac:picMk id="23" creationId="{9961B0CD-E4C7-0F35-E41F-D95283B959FC}"/>
          </ac:picMkLst>
        </pc:picChg>
        <pc:picChg chg="add mod">
          <ac:chgData name="Nicholas Carson" userId="9cef14a6-3c3c-4d90-8630-466ba49183cb" providerId="ADAL" clId="{AAB44CB5-4296-48D5-ADFB-D18134F819D6}" dt="2024-03-11T23:36:50.844" v="3252" actId="1076"/>
          <ac:picMkLst>
            <pc:docMk/>
            <pc:sldMk cId="729609147" sldId="265"/>
            <ac:picMk id="24" creationId="{134EEE44-1DE3-BE8F-5FB6-672887D7D98A}"/>
          </ac:picMkLst>
        </pc:picChg>
      </pc:sldChg>
      <pc:sldChg chg="addSp delSp modSp mod ord modNotesTx">
        <pc:chgData name="Nicholas Carson" userId="9cef14a6-3c3c-4d90-8630-466ba49183cb" providerId="ADAL" clId="{AAB44CB5-4296-48D5-ADFB-D18134F819D6}" dt="2024-03-12T22:08:28.582" v="6567" actId="5793"/>
        <pc:sldMkLst>
          <pc:docMk/>
          <pc:sldMk cId="643777997" sldId="266"/>
        </pc:sldMkLst>
        <pc:spChg chg="mod">
          <ac:chgData name="Nicholas Carson" userId="9cef14a6-3c3c-4d90-8630-466ba49183cb" providerId="ADAL" clId="{AAB44CB5-4296-48D5-ADFB-D18134F819D6}" dt="2024-03-12T00:10:58.597" v="5036" actId="948"/>
          <ac:spMkLst>
            <pc:docMk/>
            <pc:sldMk cId="643777997" sldId="266"/>
            <ac:spMk id="2" creationId="{5D030A76-B788-B363-104E-266B7C7F7208}"/>
          </ac:spMkLst>
        </pc:spChg>
        <pc:spChg chg="mod">
          <ac:chgData name="Nicholas Carson" userId="9cef14a6-3c3c-4d90-8630-466ba49183cb" providerId="ADAL" clId="{AAB44CB5-4296-48D5-ADFB-D18134F819D6}" dt="2024-03-12T22:08:28.582" v="6567" actId="5793"/>
          <ac:spMkLst>
            <pc:docMk/>
            <pc:sldMk cId="643777997" sldId="266"/>
            <ac:spMk id="3" creationId="{05948542-FCE1-3AE6-C6C9-17975609DF70}"/>
          </ac:spMkLst>
        </pc:spChg>
        <pc:spChg chg="del">
          <ac:chgData name="Nicholas Carson" userId="9cef14a6-3c3c-4d90-8630-466ba49183cb" providerId="ADAL" clId="{AAB44CB5-4296-48D5-ADFB-D18134F819D6}" dt="2024-03-11T23:39:29.253" v="3803" actId="478"/>
          <ac:spMkLst>
            <pc:docMk/>
            <pc:sldMk cId="643777997" sldId="266"/>
            <ac:spMk id="4" creationId="{3EE67564-0457-E486-97D0-8109D2C97B3F}"/>
          </ac:spMkLst>
        </pc:spChg>
        <pc:spChg chg="add del mod modVis">
          <ac:chgData name="Nicholas Carson" userId="9cef14a6-3c3c-4d90-8630-466ba49183cb" providerId="ADAL" clId="{AAB44CB5-4296-48D5-ADFB-D18134F819D6}" dt="2024-03-08T20:38:50.817" v="1327"/>
          <ac:spMkLst>
            <pc:docMk/>
            <pc:sldMk cId="643777997" sldId="266"/>
            <ac:spMk id="5" creationId="{164769BB-F899-3E64-2BBC-5F54398FDF44}"/>
          </ac:spMkLst>
        </pc:spChg>
        <pc:spChg chg="add del mod modVis">
          <ac:chgData name="Nicholas Carson" userId="9cef14a6-3c3c-4d90-8630-466ba49183cb" providerId="ADAL" clId="{AAB44CB5-4296-48D5-ADFB-D18134F819D6}" dt="2024-03-08T20:38:56.247" v="1405"/>
          <ac:spMkLst>
            <pc:docMk/>
            <pc:sldMk cId="643777997" sldId="266"/>
            <ac:spMk id="7" creationId="{4AFDCE3D-CEC5-2C05-76BE-05CE753F3780}"/>
          </ac:spMkLst>
        </pc:spChg>
        <pc:spChg chg="add del mod modVis">
          <ac:chgData name="Nicholas Carson" userId="9cef14a6-3c3c-4d90-8630-466ba49183cb" providerId="ADAL" clId="{AAB44CB5-4296-48D5-ADFB-D18134F819D6}" dt="2024-03-08T20:38:59.013" v="1442"/>
          <ac:spMkLst>
            <pc:docMk/>
            <pc:sldMk cId="643777997" sldId="266"/>
            <ac:spMk id="8" creationId="{2FC74953-4F0F-EFC6-158A-9DC91EC6B4AC}"/>
          </ac:spMkLst>
        </pc:spChg>
        <pc:spChg chg="add del mod modVis">
          <ac:chgData name="Nicholas Carson" userId="9cef14a6-3c3c-4d90-8630-466ba49183cb" providerId="ADAL" clId="{AAB44CB5-4296-48D5-ADFB-D18134F819D6}" dt="2024-03-11T15:02:26.902" v="1587"/>
          <ac:spMkLst>
            <pc:docMk/>
            <pc:sldMk cId="643777997" sldId="266"/>
            <ac:spMk id="9" creationId="{6A9330E6-5D64-5B9D-7F42-6C572BF5185E}"/>
          </ac:spMkLst>
        </pc:spChg>
        <pc:spChg chg="add del mod modVis">
          <ac:chgData name="Nicholas Carson" userId="9cef14a6-3c3c-4d90-8630-466ba49183cb" providerId="ADAL" clId="{AAB44CB5-4296-48D5-ADFB-D18134F819D6}" dt="2024-03-11T22:39:31.971" v="1616"/>
          <ac:spMkLst>
            <pc:docMk/>
            <pc:sldMk cId="643777997" sldId="266"/>
            <ac:spMk id="10" creationId="{0FDBB03D-50A4-A33A-7D5C-B94DD0D2D4E6}"/>
          </ac:spMkLst>
        </pc:spChg>
        <pc:spChg chg="add del mod modVis">
          <ac:chgData name="Nicholas Carson" userId="9cef14a6-3c3c-4d90-8630-466ba49183cb" providerId="ADAL" clId="{AAB44CB5-4296-48D5-ADFB-D18134F819D6}" dt="2024-03-11T22:39:32.808" v="1647"/>
          <ac:spMkLst>
            <pc:docMk/>
            <pc:sldMk cId="643777997" sldId="266"/>
            <ac:spMk id="11" creationId="{4A1D2B67-3240-54A8-A02A-778B7395570C}"/>
          </ac:spMkLst>
        </pc:spChg>
        <pc:spChg chg="add del mod modVis">
          <ac:chgData name="Nicholas Carson" userId="9cef14a6-3c3c-4d90-8630-466ba49183cb" providerId="ADAL" clId="{AAB44CB5-4296-48D5-ADFB-D18134F819D6}" dt="2024-03-11T22:41:08.521" v="1676"/>
          <ac:spMkLst>
            <pc:docMk/>
            <pc:sldMk cId="643777997" sldId="266"/>
            <ac:spMk id="12" creationId="{F77D04AF-F444-F681-10FB-4FF8894C0A7F}"/>
          </ac:spMkLst>
        </pc:spChg>
        <pc:spChg chg="add del mod modVis">
          <ac:chgData name="Nicholas Carson" userId="9cef14a6-3c3c-4d90-8630-466ba49183cb" providerId="ADAL" clId="{AAB44CB5-4296-48D5-ADFB-D18134F819D6}" dt="2024-03-11T22:41:09.354" v="1706"/>
          <ac:spMkLst>
            <pc:docMk/>
            <pc:sldMk cId="643777997" sldId="266"/>
            <ac:spMk id="13" creationId="{8D52FDA2-B0AD-7875-F3E3-6368CB6D16B0}"/>
          </ac:spMkLst>
        </pc:spChg>
        <pc:spChg chg="add del mod modVis">
          <ac:chgData name="Nicholas Carson" userId="9cef14a6-3c3c-4d90-8630-466ba49183cb" providerId="ADAL" clId="{AAB44CB5-4296-48D5-ADFB-D18134F819D6}" dt="2024-03-11T22:41:10.681" v="1739"/>
          <ac:spMkLst>
            <pc:docMk/>
            <pc:sldMk cId="643777997" sldId="266"/>
            <ac:spMk id="14" creationId="{35235D18-33D8-9DFD-8C00-610116D1F887}"/>
          </ac:spMkLst>
        </pc:spChg>
        <pc:spChg chg="add del mod modVis">
          <ac:chgData name="Nicholas Carson" userId="9cef14a6-3c3c-4d90-8630-466ba49183cb" providerId="ADAL" clId="{AAB44CB5-4296-48D5-ADFB-D18134F819D6}" dt="2024-03-11T22:41:11.296" v="1771"/>
          <ac:spMkLst>
            <pc:docMk/>
            <pc:sldMk cId="643777997" sldId="266"/>
            <ac:spMk id="15" creationId="{A24271D4-A429-71E2-8A72-5E64874183BB}"/>
          </ac:spMkLst>
        </pc:spChg>
        <pc:spChg chg="add del mod modVis">
          <ac:chgData name="Nicholas Carson" userId="9cef14a6-3c3c-4d90-8630-466ba49183cb" providerId="ADAL" clId="{AAB44CB5-4296-48D5-ADFB-D18134F819D6}" dt="2024-03-11T22:41:12.088" v="1802"/>
          <ac:spMkLst>
            <pc:docMk/>
            <pc:sldMk cId="643777997" sldId="266"/>
            <ac:spMk id="16" creationId="{73D8D785-2563-0649-A40B-51F5E32CF531}"/>
          </ac:spMkLst>
        </pc:spChg>
        <pc:spChg chg="add del mod modVis">
          <ac:chgData name="Nicholas Carson" userId="9cef14a6-3c3c-4d90-8630-466ba49183cb" providerId="ADAL" clId="{AAB44CB5-4296-48D5-ADFB-D18134F819D6}" dt="2024-03-11T22:41:13.555" v="1834"/>
          <ac:spMkLst>
            <pc:docMk/>
            <pc:sldMk cId="643777997" sldId="266"/>
            <ac:spMk id="17" creationId="{43DBF20B-6E26-5272-63D8-4AD945301A6F}"/>
          </ac:spMkLst>
        </pc:spChg>
        <pc:spChg chg="add del mod modVis">
          <ac:chgData name="Nicholas Carson" userId="9cef14a6-3c3c-4d90-8630-466ba49183cb" providerId="ADAL" clId="{AAB44CB5-4296-48D5-ADFB-D18134F819D6}" dt="2024-03-11T22:41:14.592" v="1863"/>
          <ac:spMkLst>
            <pc:docMk/>
            <pc:sldMk cId="643777997" sldId="266"/>
            <ac:spMk id="18" creationId="{AAAE8C98-D161-4BFF-58E7-280D1B6B15D1}"/>
          </ac:spMkLst>
        </pc:spChg>
        <pc:graphicFrameChg chg="add mod ord modVis replST">
          <ac:chgData name="Nicholas Carson" userId="9cef14a6-3c3c-4d90-8630-466ba49183cb" providerId="ADAL" clId="{AAB44CB5-4296-48D5-ADFB-D18134F819D6}" dt="2024-03-12T00:10:58.601" v="5040"/>
          <ac:graphicFrameMkLst>
            <pc:docMk/>
            <pc:sldMk cId="643777997" sldId="266"/>
            <ac:graphicFrameMk id="6" creationId="{0342D10E-F92B-E756-A1A0-8511C25E23D1}"/>
          </ac:graphicFrameMkLst>
        </pc:graphicFrameChg>
      </pc:sldChg>
      <pc:sldChg chg="addSp delSp modSp mod ord">
        <pc:chgData name="Nicholas Carson" userId="9cef14a6-3c3c-4d90-8630-466ba49183cb" providerId="ADAL" clId="{AAB44CB5-4296-48D5-ADFB-D18134F819D6}" dt="2024-03-11T23:58:43.085" v="4235" actId="20577"/>
        <pc:sldMkLst>
          <pc:docMk/>
          <pc:sldMk cId="3604630649" sldId="267"/>
        </pc:sldMkLst>
        <pc:spChg chg="mod">
          <ac:chgData name="Nicholas Carson" userId="9cef14a6-3c3c-4d90-8630-466ba49183cb" providerId="ADAL" clId="{AAB44CB5-4296-48D5-ADFB-D18134F819D6}" dt="2024-03-11T23:48:02.265" v="4001" actId="948"/>
          <ac:spMkLst>
            <pc:docMk/>
            <pc:sldMk cId="3604630649" sldId="267"/>
            <ac:spMk id="2" creationId="{D1FC59F6-9B22-C211-4B4C-A2FD4B914C46}"/>
          </ac:spMkLst>
        </pc:spChg>
        <pc:spChg chg="add del mod modVis">
          <ac:chgData name="Nicholas Carson" userId="9cef14a6-3c3c-4d90-8630-466ba49183cb" providerId="ADAL" clId="{AAB44CB5-4296-48D5-ADFB-D18134F819D6}" dt="2024-03-08T20:38:36.718" v="1062"/>
          <ac:spMkLst>
            <pc:docMk/>
            <pc:sldMk cId="3604630649" sldId="267"/>
            <ac:spMk id="3" creationId="{DAAE2078-3E36-6C28-6F57-B24B4867CD9A}"/>
          </ac:spMkLst>
        </pc:spChg>
        <pc:spChg chg="add del mod modVis">
          <ac:chgData name="Nicholas Carson" userId="9cef14a6-3c3c-4d90-8630-466ba49183cb" providerId="ADAL" clId="{AAB44CB5-4296-48D5-ADFB-D18134F819D6}" dt="2024-03-08T20:38:37.451" v="1104"/>
          <ac:spMkLst>
            <pc:docMk/>
            <pc:sldMk cId="3604630649" sldId="267"/>
            <ac:spMk id="5" creationId="{27065F49-4A16-7BFA-998F-002CE6031E65}"/>
          </ac:spMkLst>
        </pc:spChg>
        <pc:spChg chg="add del mod modVis">
          <ac:chgData name="Nicholas Carson" userId="9cef14a6-3c3c-4d90-8630-466ba49183cb" providerId="ADAL" clId="{AAB44CB5-4296-48D5-ADFB-D18134F819D6}" dt="2024-03-08T20:38:38.179" v="1134"/>
          <ac:spMkLst>
            <pc:docMk/>
            <pc:sldMk cId="3604630649" sldId="267"/>
            <ac:spMk id="6" creationId="{C0CDE693-1066-5429-4846-662A9E7BD38B}"/>
          </ac:spMkLst>
        </pc:spChg>
        <pc:spChg chg="add del mod modVis">
          <ac:chgData name="Nicholas Carson" userId="9cef14a6-3c3c-4d90-8630-466ba49183cb" providerId="ADAL" clId="{AAB44CB5-4296-48D5-ADFB-D18134F819D6}" dt="2024-03-08T20:38:39.371" v="1165"/>
          <ac:spMkLst>
            <pc:docMk/>
            <pc:sldMk cId="3604630649" sldId="267"/>
            <ac:spMk id="7" creationId="{22946BC9-13FB-2D30-BFB0-63327A236AE9}"/>
          </ac:spMkLst>
        </pc:spChg>
        <pc:spChg chg="add del mod modVis">
          <ac:chgData name="Nicholas Carson" userId="9cef14a6-3c3c-4d90-8630-466ba49183cb" providerId="ADAL" clId="{AAB44CB5-4296-48D5-ADFB-D18134F819D6}" dt="2024-03-08T20:38:40.768" v="1199"/>
          <ac:spMkLst>
            <pc:docMk/>
            <pc:sldMk cId="3604630649" sldId="267"/>
            <ac:spMk id="8" creationId="{A91B3859-85FE-0F97-8FA7-C038F9C7A6B5}"/>
          </ac:spMkLst>
        </pc:spChg>
        <pc:spChg chg="add del mod modVis">
          <ac:chgData name="Nicholas Carson" userId="9cef14a6-3c3c-4d90-8630-466ba49183cb" providerId="ADAL" clId="{AAB44CB5-4296-48D5-ADFB-D18134F819D6}" dt="2024-03-08T20:38:42.293" v="1230"/>
          <ac:spMkLst>
            <pc:docMk/>
            <pc:sldMk cId="3604630649" sldId="267"/>
            <ac:spMk id="9" creationId="{260E8EEF-400F-FBEA-1D66-24123214136B}"/>
          </ac:spMkLst>
        </pc:spChg>
        <pc:spChg chg="add del mod modVis">
          <ac:chgData name="Nicholas Carson" userId="9cef14a6-3c3c-4d90-8630-466ba49183cb" providerId="ADAL" clId="{AAB44CB5-4296-48D5-ADFB-D18134F819D6}" dt="2024-03-08T20:38:44.305" v="1265"/>
          <ac:spMkLst>
            <pc:docMk/>
            <pc:sldMk cId="3604630649" sldId="267"/>
            <ac:spMk id="10" creationId="{8A66383F-5324-2188-9051-85944B7FAA97}"/>
          </ac:spMkLst>
        </pc:spChg>
        <pc:spChg chg="add del mod modVis">
          <ac:chgData name="Nicholas Carson" userId="9cef14a6-3c3c-4d90-8630-466ba49183cb" providerId="ADAL" clId="{AAB44CB5-4296-48D5-ADFB-D18134F819D6}" dt="2024-03-08T20:38:45.684" v="1296"/>
          <ac:spMkLst>
            <pc:docMk/>
            <pc:sldMk cId="3604630649" sldId="267"/>
            <ac:spMk id="11" creationId="{A16A06ED-785B-09A0-085D-ECA5D93FF946}"/>
          </ac:spMkLst>
        </pc:spChg>
        <pc:spChg chg="add del mod modVis">
          <ac:chgData name="Nicholas Carson" userId="9cef14a6-3c3c-4d90-8630-466ba49183cb" providerId="ADAL" clId="{AAB44CB5-4296-48D5-ADFB-D18134F819D6}" dt="2024-03-11T15:02:22.722" v="1558"/>
          <ac:spMkLst>
            <pc:docMk/>
            <pc:sldMk cId="3604630649" sldId="267"/>
            <ac:spMk id="12" creationId="{B5FF11FD-B871-B974-9280-4C93485F327D}"/>
          </ac:spMkLst>
        </pc:spChg>
        <pc:spChg chg="add del mod modVis">
          <ac:chgData name="Nicholas Carson" userId="9cef14a6-3c3c-4d90-8630-466ba49183cb" providerId="ADAL" clId="{AAB44CB5-4296-48D5-ADFB-D18134F819D6}" dt="2024-03-11T23:48:00.717" v="3997"/>
          <ac:spMkLst>
            <pc:docMk/>
            <pc:sldMk cId="3604630649" sldId="267"/>
            <ac:spMk id="13" creationId="{415822DC-A96C-A8C0-10AE-CFEBBBAF9651}"/>
          </ac:spMkLst>
        </pc:spChg>
        <pc:spChg chg="add del mod modVis">
          <ac:chgData name="Nicholas Carson" userId="9cef14a6-3c3c-4d90-8630-466ba49183cb" providerId="ADAL" clId="{AAB44CB5-4296-48D5-ADFB-D18134F819D6}" dt="2024-03-11T23:48:02.287" v="4026"/>
          <ac:spMkLst>
            <pc:docMk/>
            <pc:sldMk cId="3604630649" sldId="267"/>
            <ac:spMk id="14" creationId="{D01977F4-C7F5-660F-7D83-D1BD3C1CF43B}"/>
          </ac:spMkLst>
        </pc:spChg>
        <pc:graphicFrameChg chg="add mod ord modVis replST">
          <ac:chgData name="Nicholas Carson" userId="9cef14a6-3c3c-4d90-8630-466ba49183cb" providerId="ADAL" clId="{AAB44CB5-4296-48D5-ADFB-D18134F819D6}" dt="2024-03-11T23:48:02.289" v="4028"/>
          <ac:graphicFrameMkLst>
            <pc:docMk/>
            <pc:sldMk cId="3604630649" sldId="267"/>
            <ac:graphicFrameMk id="4" creationId="{094B1078-DDC9-C14B-80A2-8576C05E779A}"/>
          </ac:graphicFrameMkLst>
        </pc:graphicFrameChg>
        <pc:graphicFrameChg chg="mod modGraphic">
          <ac:chgData name="Nicholas Carson" userId="9cef14a6-3c3c-4d90-8630-466ba49183cb" providerId="ADAL" clId="{AAB44CB5-4296-48D5-ADFB-D18134F819D6}" dt="2024-03-11T23:58:43.085" v="4235" actId="20577"/>
          <ac:graphicFrameMkLst>
            <pc:docMk/>
            <pc:sldMk cId="3604630649" sldId="267"/>
            <ac:graphicFrameMk id="19" creationId="{998759BF-36E2-2AC0-C9B8-88C6BF075154}"/>
          </ac:graphicFrameMkLst>
        </pc:graphicFrameChg>
      </pc:sldChg>
      <pc:sldChg chg="addSp delSp modSp del mod">
        <pc:chgData name="Nicholas Carson" userId="9cef14a6-3c3c-4d90-8630-466ba49183cb" providerId="ADAL" clId="{AAB44CB5-4296-48D5-ADFB-D18134F819D6}" dt="2024-03-11T22:47:29.481" v="2057" actId="47"/>
        <pc:sldMkLst>
          <pc:docMk/>
          <pc:sldMk cId="4259977132" sldId="268"/>
        </pc:sldMkLst>
        <pc:spChg chg="mod">
          <ac:chgData name="Nicholas Carson" userId="9cef14a6-3c3c-4d90-8630-466ba49183cb" providerId="ADAL" clId="{AAB44CB5-4296-48D5-ADFB-D18134F819D6}" dt="2024-03-11T15:02:15.372" v="1504" actId="948"/>
          <ac:spMkLst>
            <pc:docMk/>
            <pc:sldMk cId="4259977132" sldId="268"/>
            <ac:spMk id="2" creationId="{B7545968-70F7-0180-6448-3547E442EF4A}"/>
          </ac:spMkLst>
        </pc:spChg>
        <pc:spChg chg="add del mod modVis">
          <ac:chgData name="Nicholas Carson" userId="9cef14a6-3c3c-4d90-8630-466ba49183cb" providerId="ADAL" clId="{AAB44CB5-4296-48D5-ADFB-D18134F819D6}" dt="2024-03-08T20:38:12.584" v="764"/>
          <ac:spMkLst>
            <pc:docMk/>
            <pc:sldMk cId="4259977132" sldId="268"/>
            <ac:spMk id="4" creationId="{A68C4D91-0921-E652-1142-4216108AEA8A}"/>
          </ac:spMkLst>
        </pc:spChg>
        <pc:spChg chg="add del mod modVis">
          <ac:chgData name="Nicholas Carson" userId="9cef14a6-3c3c-4d90-8630-466ba49183cb" providerId="ADAL" clId="{AAB44CB5-4296-48D5-ADFB-D18134F819D6}" dt="2024-03-08T20:38:14.225" v="811"/>
          <ac:spMkLst>
            <pc:docMk/>
            <pc:sldMk cId="4259977132" sldId="268"/>
            <ac:spMk id="6" creationId="{1F9DA6A2-2B7E-64E2-CADC-F27864E51F97}"/>
          </ac:spMkLst>
        </pc:spChg>
        <pc:spChg chg="add del mod modVis">
          <ac:chgData name="Nicholas Carson" userId="9cef14a6-3c3c-4d90-8630-466ba49183cb" providerId="ADAL" clId="{AAB44CB5-4296-48D5-ADFB-D18134F819D6}" dt="2024-03-08T20:38:15.470" v="841"/>
          <ac:spMkLst>
            <pc:docMk/>
            <pc:sldMk cId="4259977132" sldId="268"/>
            <ac:spMk id="7" creationId="{C49C6CC2-721E-B55B-A2E4-3099A7470A05}"/>
          </ac:spMkLst>
        </pc:spChg>
        <pc:spChg chg="del">
          <ac:chgData name="Nicholas Carson" userId="9cef14a6-3c3c-4d90-8630-466ba49183cb" providerId="ADAL" clId="{AAB44CB5-4296-48D5-ADFB-D18134F819D6}" dt="2024-03-11T22:46:31.724" v="2055" actId="478"/>
          <ac:spMkLst>
            <pc:docMk/>
            <pc:sldMk cId="4259977132" sldId="268"/>
            <ac:spMk id="8" creationId="{215CE58D-2739-522B-7C3A-6A7C985360C0}"/>
          </ac:spMkLst>
        </pc:spChg>
        <pc:spChg chg="add del mod modVis">
          <ac:chgData name="Nicholas Carson" userId="9cef14a6-3c3c-4d90-8630-466ba49183cb" providerId="ADAL" clId="{AAB44CB5-4296-48D5-ADFB-D18134F819D6}" dt="2024-03-08T20:38:16.784" v="870"/>
          <ac:spMkLst>
            <pc:docMk/>
            <pc:sldMk cId="4259977132" sldId="268"/>
            <ac:spMk id="9" creationId="{90498146-9988-EF20-E5BB-317F277841D7}"/>
          </ac:spMkLst>
        </pc:spChg>
        <pc:spChg chg="add del mod modVis">
          <ac:chgData name="Nicholas Carson" userId="9cef14a6-3c3c-4d90-8630-466ba49183cb" providerId="ADAL" clId="{AAB44CB5-4296-48D5-ADFB-D18134F819D6}" dt="2024-03-08T20:38:17.853" v="900"/>
          <ac:spMkLst>
            <pc:docMk/>
            <pc:sldMk cId="4259977132" sldId="268"/>
            <ac:spMk id="10" creationId="{E885A34B-E95F-E5BD-7FD7-32EEFCBE94EC}"/>
          </ac:spMkLst>
        </pc:spChg>
        <pc:spChg chg="add del mod modVis">
          <ac:chgData name="Nicholas Carson" userId="9cef14a6-3c3c-4d90-8630-466ba49183cb" providerId="ADAL" clId="{AAB44CB5-4296-48D5-ADFB-D18134F819D6}" dt="2024-03-08T20:38:18.378" v="929"/>
          <ac:spMkLst>
            <pc:docMk/>
            <pc:sldMk cId="4259977132" sldId="268"/>
            <ac:spMk id="11" creationId="{7DE69E18-59FB-9E7B-0718-904BA02D268F}"/>
          </ac:spMkLst>
        </pc:spChg>
        <pc:spChg chg="add del mod modVis">
          <ac:chgData name="Nicholas Carson" userId="9cef14a6-3c3c-4d90-8630-466ba49183cb" providerId="ADAL" clId="{AAB44CB5-4296-48D5-ADFB-D18134F819D6}" dt="2024-03-08T20:38:19.447" v="958"/>
          <ac:spMkLst>
            <pc:docMk/>
            <pc:sldMk cId="4259977132" sldId="268"/>
            <ac:spMk id="12" creationId="{CB7808A2-AF29-2948-6952-95F56F554216}"/>
          </ac:spMkLst>
        </pc:spChg>
        <pc:spChg chg="add del mod modVis">
          <ac:chgData name="Nicholas Carson" userId="9cef14a6-3c3c-4d90-8630-466ba49183cb" providerId="ADAL" clId="{AAB44CB5-4296-48D5-ADFB-D18134F819D6}" dt="2024-03-08T20:38:20.084" v="987"/>
          <ac:spMkLst>
            <pc:docMk/>
            <pc:sldMk cId="4259977132" sldId="268"/>
            <ac:spMk id="13" creationId="{EADAF7FA-5C24-9CCE-EBB9-27793550DFA8}"/>
          </ac:spMkLst>
        </pc:spChg>
        <pc:spChg chg="add del mod modVis">
          <ac:chgData name="Nicholas Carson" userId="9cef14a6-3c3c-4d90-8630-466ba49183cb" providerId="ADAL" clId="{AAB44CB5-4296-48D5-ADFB-D18134F819D6}" dt="2024-03-08T20:38:21.448" v="1019"/>
          <ac:spMkLst>
            <pc:docMk/>
            <pc:sldMk cId="4259977132" sldId="268"/>
            <ac:spMk id="14" creationId="{777BAC55-77B2-113A-D43C-ABC80919D899}"/>
          </ac:spMkLst>
        </pc:spChg>
        <pc:spChg chg="add del mod modVis">
          <ac:chgData name="Nicholas Carson" userId="9cef14a6-3c3c-4d90-8630-466ba49183cb" providerId="ADAL" clId="{AAB44CB5-4296-48D5-ADFB-D18134F819D6}" dt="2024-03-11T15:02:15.396" v="1529"/>
          <ac:spMkLst>
            <pc:docMk/>
            <pc:sldMk cId="4259977132" sldId="268"/>
            <ac:spMk id="15" creationId="{38B0FE56-9EA6-CBF8-4C53-C19F49E59E40}"/>
          </ac:spMkLst>
        </pc:spChg>
        <pc:spChg chg="add del mod">
          <ac:chgData name="Nicholas Carson" userId="9cef14a6-3c3c-4d90-8630-466ba49183cb" providerId="ADAL" clId="{AAB44CB5-4296-48D5-ADFB-D18134F819D6}" dt="2024-03-11T22:46:29.258" v="2054" actId="478"/>
          <ac:spMkLst>
            <pc:docMk/>
            <pc:sldMk cId="4259977132" sldId="268"/>
            <ac:spMk id="18" creationId="{4895D22B-8A38-1BE4-A978-A4868B894967}"/>
          </ac:spMkLst>
        </pc:spChg>
        <pc:spChg chg="add del mod">
          <ac:chgData name="Nicholas Carson" userId="9cef14a6-3c3c-4d90-8630-466ba49183cb" providerId="ADAL" clId="{AAB44CB5-4296-48D5-ADFB-D18134F819D6}" dt="2024-03-11T22:46:34.273" v="2056" actId="478"/>
          <ac:spMkLst>
            <pc:docMk/>
            <pc:sldMk cId="4259977132" sldId="268"/>
            <ac:spMk id="20" creationId="{E9AF98F4-136B-9BA6-23B1-595D58A4D022}"/>
          </ac:spMkLst>
        </pc:spChg>
        <pc:graphicFrameChg chg="del">
          <ac:chgData name="Nicholas Carson" userId="9cef14a6-3c3c-4d90-8630-466ba49183cb" providerId="ADAL" clId="{AAB44CB5-4296-48D5-ADFB-D18134F819D6}" dt="2024-03-11T22:46:27.087" v="2053" actId="478"/>
          <ac:graphicFrameMkLst>
            <pc:docMk/>
            <pc:sldMk cId="4259977132" sldId="268"/>
            <ac:graphicFrameMk id="3" creationId="{F01CF5D3-D3B1-1944-CFDF-D8EE11DE42AA}"/>
          </ac:graphicFrameMkLst>
        </pc:graphicFrameChg>
        <pc:graphicFrameChg chg="add mod ord modVis replST">
          <ac:chgData name="Nicholas Carson" userId="9cef14a6-3c3c-4d90-8630-466ba49183cb" providerId="ADAL" clId="{AAB44CB5-4296-48D5-ADFB-D18134F819D6}" dt="2024-03-11T15:02:15.404" v="1531"/>
          <ac:graphicFrameMkLst>
            <pc:docMk/>
            <pc:sldMk cId="4259977132" sldId="268"/>
            <ac:graphicFrameMk id="5" creationId="{F89D19EE-1A15-65B2-D662-0B323FACE831}"/>
          </ac:graphicFrameMkLst>
        </pc:graphicFrameChg>
        <pc:picChg chg="del">
          <ac:chgData name="Nicholas Carson" userId="9cef14a6-3c3c-4d90-8630-466ba49183cb" providerId="ADAL" clId="{AAB44CB5-4296-48D5-ADFB-D18134F819D6}" dt="2024-03-11T22:41:55.399" v="1957"/>
          <ac:picMkLst>
            <pc:docMk/>
            <pc:sldMk cId="4259977132" sldId="268"/>
            <ac:picMk id="16" creationId="{6AD56279-778E-C28A-D8EC-CD6258E230E3}"/>
          </ac:picMkLst>
        </pc:picChg>
      </pc:sldChg>
      <pc:sldChg chg="addSp delSp modSp new mod">
        <pc:chgData name="Nicholas Carson" userId="9cef14a6-3c3c-4d90-8630-466ba49183cb" providerId="ADAL" clId="{AAB44CB5-4296-48D5-ADFB-D18134F819D6}" dt="2024-03-12T00:02:29.388" v="4606" actId="20577"/>
        <pc:sldMkLst>
          <pc:docMk/>
          <pc:sldMk cId="298761182" sldId="269"/>
        </pc:sldMkLst>
        <pc:spChg chg="mod">
          <ac:chgData name="Nicholas Carson" userId="9cef14a6-3c3c-4d90-8630-466ba49183cb" providerId="ADAL" clId="{AAB44CB5-4296-48D5-ADFB-D18134F819D6}" dt="2024-03-11T22:46:17.691" v="2025" actId="948"/>
          <ac:spMkLst>
            <pc:docMk/>
            <pc:sldMk cId="298761182" sldId="269"/>
            <ac:spMk id="2" creationId="{50582675-A4FD-3FC2-BD64-85EF3B2CEDEE}"/>
          </ac:spMkLst>
        </pc:spChg>
        <pc:spChg chg="del">
          <ac:chgData name="Nicholas Carson" userId="9cef14a6-3c3c-4d90-8630-466ba49183cb" providerId="ADAL" clId="{AAB44CB5-4296-48D5-ADFB-D18134F819D6}" dt="2024-03-11T22:45:58.460" v="1962" actId="478"/>
          <ac:spMkLst>
            <pc:docMk/>
            <pc:sldMk cId="298761182" sldId="269"/>
            <ac:spMk id="3" creationId="{AD68F614-7C80-F2E5-1121-BAF751B72673}"/>
          </ac:spMkLst>
        </pc:spChg>
        <pc:spChg chg="del">
          <ac:chgData name="Nicholas Carson" userId="9cef14a6-3c3c-4d90-8630-466ba49183cb" providerId="ADAL" clId="{AAB44CB5-4296-48D5-ADFB-D18134F819D6}" dt="2024-03-11T22:45:51.971" v="1961" actId="478"/>
          <ac:spMkLst>
            <pc:docMk/>
            <pc:sldMk cId="298761182" sldId="269"/>
            <ac:spMk id="4" creationId="{6A110744-07F2-283B-9BB7-598166E8F24F}"/>
          </ac:spMkLst>
        </pc:spChg>
        <pc:spChg chg="add del mod modVis">
          <ac:chgData name="Nicholas Carson" userId="9cef14a6-3c3c-4d90-8630-466ba49183cb" providerId="ADAL" clId="{AAB44CB5-4296-48D5-ADFB-D18134F819D6}" dt="2024-03-11T22:46:15.541" v="2002"/>
          <ac:spMkLst>
            <pc:docMk/>
            <pc:sldMk cId="298761182" sldId="269"/>
            <ac:spMk id="6" creationId="{BA53E0CD-DD80-9686-E4A2-A1A8B6A533FD}"/>
          </ac:spMkLst>
        </pc:spChg>
        <pc:spChg chg="add del mod modVis">
          <ac:chgData name="Nicholas Carson" userId="9cef14a6-3c3c-4d90-8630-466ba49183cb" providerId="ADAL" clId="{AAB44CB5-4296-48D5-ADFB-D18134F819D6}" dt="2024-03-11T22:46:17.731" v="2050"/>
          <ac:spMkLst>
            <pc:docMk/>
            <pc:sldMk cId="298761182" sldId="269"/>
            <ac:spMk id="8" creationId="{DAACA505-02B5-2EE7-03A7-B2EEE143B632}"/>
          </ac:spMkLst>
        </pc:spChg>
        <pc:spChg chg="add del mod">
          <ac:chgData name="Nicholas Carson" userId="9cef14a6-3c3c-4d90-8630-466ba49183cb" providerId="ADAL" clId="{AAB44CB5-4296-48D5-ADFB-D18134F819D6}" dt="2024-03-11T23:37:17.909" v="3255"/>
          <ac:spMkLst>
            <pc:docMk/>
            <pc:sldMk cId="298761182" sldId="269"/>
            <ac:spMk id="9" creationId="{857D41F2-A2F2-A554-C113-87D729422573}"/>
          </ac:spMkLst>
        </pc:spChg>
        <pc:spChg chg="add mod">
          <ac:chgData name="Nicholas Carson" userId="9cef14a6-3c3c-4d90-8630-466ba49183cb" providerId="ADAL" clId="{AAB44CB5-4296-48D5-ADFB-D18134F819D6}" dt="2024-03-12T00:02:29.388" v="4606" actId="20577"/>
          <ac:spMkLst>
            <pc:docMk/>
            <pc:sldMk cId="298761182" sldId="269"/>
            <ac:spMk id="10" creationId="{5061CB6F-C3B8-3E3F-3ED5-01E8B7F00E16}"/>
          </ac:spMkLst>
        </pc:spChg>
        <pc:graphicFrameChg chg="add mod ord modVis replST">
          <ac:chgData name="Nicholas Carson" userId="9cef14a6-3c3c-4d90-8630-466ba49183cb" providerId="ADAL" clId="{AAB44CB5-4296-48D5-ADFB-D18134F819D6}" dt="2024-03-11T22:46:17.735" v="2052"/>
          <ac:graphicFrameMkLst>
            <pc:docMk/>
            <pc:sldMk cId="298761182" sldId="269"/>
            <ac:graphicFrameMk id="7" creationId="{DA29AB50-D743-1C76-52F6-8906DDA9EEF0}"/>
          </ac:graphicFrameMkLst>
        </pc:graphicFrameChg>
        <pc:picChg chg="add mod">
          <ac:chgData name="Nicholas Carson" userId="9cef14a6-3c3c-4d90-8630-466ba49183cb" providerId="ADAL" clId="{AAB44CB5-4296-48D5-ADFB-D18134F819D6}" dt="2024-03-11T22:46:08.309" v="1964" actId="1076"/>
          <ac:picMkLst>
            <pc:docMk/>
            <pc:sldMk cId="298761182" sldId="269"/>
            <ac:picMk id="5" creationId="{792EAEAC-B6CA-DEFD-3FEF-1D3D52972B76}"/>
          </ac:picMkLst>
        </pc:picChg>
      </pc:sldChg>
      <pc:sldChg chg="del">
        <pc:chgData name="Nicholas Carson" userId="9cef14a6-3c3c-4d90-8630-466ba49183cb" providerId="ADAL" clId="{AAB44CB5-4296-48D5-ADFB-D18134F819D6}" dt="2024-03-08T17:53:08.323" v="0" actId="2696"/>
        <pc:sldMkLst>
          <pc:docMk/>
          <pc:sldMk cId="4242039281" sldId="283"/>
        </pc:sldMkLst>
      </pc:sldChg>
      <pc:sldMasterChg chg="addSp delSp modSp mod">
        <pc:chgData name="Nicholas Carson" userId="9cef14a6-3c3c-4d90-8630-466ba49183cb" providerId="ADAL" clId="{AAB44CB5-4296-48D5-ADFB-D18134F819D6}" dt="2024-03-08T20:35:38.559" v="44"/>
        <pc:sldMasterMkLst>
          <pc:docMk/>
          <pc:sldMasterMk cId="1965934658" sldId="2147483648"/>
        </pc:sldMasterMkLst>
        <pc:spChg chg="mod">
          <ac:chgData name="Nicholas Carson" userId="9cef14a6-3c3c-4d90-8630-466ba49183cb" providerId="ADAL" clId="{AAB44CB5-4296-48D5-ADFB-D18134F819D6}" dt="2024-03-08T20:35:38.269" v="3" actId="948"/>
          <ac:spMkLst>
            <pc:docMk/>
            <pc:sldMasterMk cId="1965934658" sldId="2147483648"/>
            <ac:spMk id="2" creationId="{4FD97564-C310-6E8C-8689-CE18881B4A17}"/>
          </ac:spMkLst>
        </pc:spChg>
        <pc:spChg chg="add del mod modVis">
          <ac:chgData name="Nicholas Carson" userId="9cef14a6-3c3c-4d90-8630-466ba49183cb" providerId="ADAL" clId="{AAB44CB5-4296-48D5-ADFB-D18134F819D6}" dt="2024-03-08T20:35:38.319" v="29"/>
          <ac:spMkLst>
            <pc:docMk/>
            <pc:sldMasterMk cId="1965934658" sldId="2147483648"/>
            <ac:spMk id="7" creationId="{C806CD14-E13B-BDF9-A2DF-F32224358EC0}"/>
          </ac:spMkLst>
        </pc:spChg>
        <pc:graphicFrameChg chg="add mod ord modVis replST">
          <ac:chgData name="Nicholas Carson" userId="9cef14a6-3c3c-4d90-8630-466ba49183cb" providerId="ADAL" clId="{AAB44CB5-4296-48D5-ADFB-D18134F819D6}" dt="2024-03-08T20:35:38.559" v="44"/>
          <ac:graphicFrameMkLst>
            <pc:docMk/>
            <pc:sldMasterMk cId="1965934658" sldId="2147483648"/>
            <ac:graphicFrameMk id="8" creationId="{53A2C8A2-4017-31A3-CB8E-587A9E09331C}"/>
          </ac:graphicFrameMkLst>
        </pc:graphicFrameChg>
      </pc:sldMasterChg>
    </pc:docChg>
  </pc:docChgLst>
  <pc:docChgLst>
    <pc:chgData name="Baum, Trevor" userId="S::4852915@lowes.com::ea497f8c-77ec-4ae7-8a2f-220bdd5585a7" providerId="AD" clId="Web-{61AF4C04-BD51-469D-B04C-B21CC12AAD94}"/>
    <pc:docChg chg="modSld">
      <pc:chgData name="Baum, Trevor" userId="S::4852915@lowes.com::ea497f8c-77ec-4ae7-8a2f-220bdd5585a7" providerId="AD" clId="Web-{61AF4C04-BD51-469D-B04C-B21CC12AAD94}" dt="2024-03-11T22:57:14.115" v="224"/>
      <pc:docMkLst>
        <pc:docMk/>
      </pc:docMkLst>
      <pc:sldChg chg="modSp">
        <pc:chgData name="Baum, Trevor" userId="S::4852915@lowes.com::ea497f8c-77ec-4ae7-8a2f-220bdd5585a7" providerId="AD" clId="Web-{61AF4C04-BD51-469D-B04C-B21CC12AAD94}" dt="2024-03-11T22:40:41.207" v="64" actId="20577"/>
        <pc:sldMkLst>
          <pc:docMk/>
          <pc:sldMk cId="837402205" sldId="264"/>
        </pc:sldMkLst>
        <pc:spChg chg="mod">
          <ac:chgData name="Baum, Trevor" userId="S::4852915@lowes.com::ea497f8c-77ec-4ae7-8a2f-220bdd5585a7" providerId="AD" clId="Web-{61AF4C04-BD51-469D-B04C-B21CC12AAD94}" dt="2024-03-11T22:40:41.207" v="64" actId="20577"/>
          <ac:spMkLst>
            <pc:docMk/>
            <pc:sldMk cId="837402205" sldId="264"/>
            <ac:spMk id="3" creationId="{68A5FD2B-E3E5-1C2B-0151-21F216B14A33}"/>
          </ac:spMkLst>
        </pc:spChg>
        <pc:spChg chg="mod">
          <ac:chgData name="Baum, Trevor" userId="S::4852915@lowes.com::ea497f8c-77ec-4ae7-8a2f-220bdd5585a7" providerId="AD" clId="Web-{61AF4C04-BD51-469D-B04C-B21CC12AAD94}" dt="2024-03-11T22:40:39.114" v="63" actId="20577"/>
          <ac:spMkLst>
            <pc:docMk/>
            <pc:sldMk cId="837402205" sldId="264"/>
            <ac:spMk id="4" creationId="{ACFBB810-3430-2C29-1AA0-9744AA0A1AA3}"/>
          </ac:spMkLst>
        </pc:spChg>
      </pc:sldChg>
      <pc:sldChg chg="modSp">
        <pc:chgData name="Baum, Trevor" userId="S::4852915@lowes.com::ea497f8c-77ec-4ae7-8a2f-220bdd5585a7" providerId="AD" clId="Web-{61AF4C04-BD51-469D-B04C-B21CC12AAD94}" dt="2024-03-11T22:39:57.253" v="1" actId="20577"/>
        <pc:sldMkLst>
          <pc:docMk/>
          <pc:sldMk cId="729609147" sldId="265"/>
        </pc:sldMkLst>
        <pc:spChg chg="mod">
          <ac:chgData name="Baum, Trevor" userId="S::4852915@lowes.com::ea497f8c-77ec-4ae7-8a2f-220bdd5585a7" providerId="AD" clId="Web-{61AF4C04-BD51-469D-B04C-B21CC12AAD94}" dt="2024-03-11T22:39:57.253" v="1" actId="20577"/>
          <ac:spMkLst>
            <pc:docMk/>
            <pc:sldMk cId="729609147" sldId="265"/>
            <ac:spMk id="3" creationId="{FACE640F-7F5A-BDB7-205D-765FA80B6796}"/>
          </ac:spMkLst>
        </pc:spChg>
        <pc:spChg chg="mod">
          <ac:chgData name="Baum, Trevor" userId="S::4852915@lowes.com::ea497f8c-77ec-4ae7-8a2f-220bdd5585a7" providerId="AD" clId="Web-{61AF4C04-BD51-469D-B04C-B21CC12AAD94}" dt="2024-03-11T22:39:45.674" v="0" actId="20577"/>
          <ac:spMkLst>
            <pc:docMk/>
            <pc:sldMk cId="729609147" sldId="265"/>
            <ac:spMk id="4" creationId="{83302BFD-960F-CBB3-E984-CDC12813A10C}"/>
          </ac:spMkLst>
        </pc:spChg>
      </pc:sldChg>
      <pc:sldChg chg="modSp">
        <pc:chgData name="Baum, Trevor" userId="S::4852915@lowes.com::ea497f8c-77ec-4ae7-8a2f-220bdd5585a7" providerId="AD" clId="Web-{61AF4C04-BD51-469D-B04C-B21CC12AAD94}" dt="2024-03-11T22:55:29.299" v="69" actId="20577"/>
        <pc:sldMkLst>
          <pc:docMk/>
          <pc:sldMk cId="643777997" sldId="266"/>
        </pc:sldMkLst>
        <pc:spChg chg="mod">
          <ac:chgData name="Baum, Trevor" userId="S::4852915@lowes.com::ea497f8c-77ec-4ae7-8a2f-220bdd5585a7" providerId="AD" clId="Web-{61AF4C04-BD51-469D-B04C-B21CC12AAD94}" dt="2024-03-11T22:55:29.299" v="69" actId="20577"/>
          <ac:spMkLst>
            <pc:docMk/>
            <pc:sldMk cId="643777997" sldId="266"/>
            <ac:spMk id="3" creationId="{05948542-FCE1-3AE6-C6C9-17975609DF70}"/>
          </ac:spMkLst>
        </pc:spChg>
        <pc:spChg chg="mod">
          <ac:chgData name="Baum, Trevor" userId="S::4852915@lowes.com::ea497f8c-77ec-4ae7-8a2f-220bdd5585a7" providerId="AD" clId="Web-{61AF4C04-BD51-469D-B04C-B21CC12AAD94}" dt="2024-03-11T22:41:09.724" v="66" actId="20577"/>
          <ac:spMkLst>
            <pc:docMk/>
            <pc:sldMk cId="643777997" sldId="266"/>
            <ac:spMk id="4" creationId="{3EE67564-0457-E486-97D0-8109D2C97B3F}"/>
          </ac:spMkLst>
        </pc:spChg>
      </pc:sldChg>
      <pc:sldChg chg="modNotes">
        <pc:chgData name="Baum, Trevor" userId="S::4852915@lowes.com::ea497f8c-77ec-4ae7-8a2f-220bdd5585a7" providerId="AD" clId="Web-{61AF4C04-BD51-469D-B04C-B21CC12AAD94}" dt="2024-03-11T22:57:14.115" v="224"/>
        <pc:sldMkLst>
          <pc:docMk/>
          <pc:sldMk cId="298761182" sldId="26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B16356-3B28-4AAF-8099-7941810E2475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5DA344-5FA2-43F7-9D95-CA56C82B08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76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047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799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769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r>
              <a:rPr lang="en-US">
                <a:cs typeface="Calibri"/>
              </a:rPr>
              <a:t>As you can see from the correlation scatter plots, there were only two variables that had any substantial correlation. These were Items available and store square footage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6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880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f we had better data along with more important features, we would still need to run multiple model and do a weight summation of all of them to get to an high accuracy scor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DA344-5FA2-43F7-9D95-CA56C82B080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973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AAEB19-4B49-2801-9B15-7682CDF04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23C3EC-28B3-4644-8BE5-3288734B46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7468" y="486137"/>
            <a:ext cx="5427584" cy="3599727"/>
          </a:xfrm>
        </p:spPr>
        <p:txBody>
          <a:bodyPr anchor="b" anchorCtr="0">
            <a:noAutofit/>
          </a:bodyPr>
          <a:lstStyle>
            <a:lvl1pPr algn="l">
              <a:defRPr sz="44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64FCBF4-90E6-FFAA-143D-3A01CE5256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24774" y="-6713"/>
            <a:ext cx="6578801" cy="6894576"/>
          </a:xfrm>
          <a:custGeom>
            <a:avLst/>
            <a:gdLst>
              <a:gd name="connsiteX0" fmla="*/ 0 w 6613525"/>
              <a:gd name="connsiteY0" fmla="*/ 0 h 6858000"/>
              <a:gd name="connsiteX1" fmla="*/ 6613525 w 6613525"/>
              <a:gd name="connsiteY1" fmla="*/ 0 h 6858000"/>
              <a:gd name="connsiteX2" fmla="*/ 6613525 w 6613525"/>
              <a:gd name="connsiteY2" fmla="*/ 6858000 h 6858000"/>
              <a:gd name="connsiteX3" fmla="*/ 0 w 6613525"/>
              <a:gd name="connsiteY3" fmla="*/ 6858000 h 6858000"/>
              <a:gd name="connsiteX4" fmla="*/ 0 w 6613525"/>
              <a:gd name="connsiteY4" fmla="*/ 0 h 6858000"/>
              <a:gd name="connsiteX0" fmla="*/ 1875099 w 6613525"/>
              <a:gd name="connsiteY0" fmla="*/ 0 h 6858000"/>
              <a:gd name="connsiteX1" fmla="*/ 6613525 w 6613525"/>
              <a:gd name="connsiteY1" fmla="*/ 0 h 6858000"/>
              <a:gd name="connsiteX2" fmla="*/ 6613525 w 6613525"/>
              <a:gd name="connsiteY2" fmla="*/ 6858000 h 6858000"/>
              <a:gd name="connsiteX3" fmla="*/ 0 w 6613525"/>
              <a:gd name="connsiteY3" fmla="*/ 6858000 h 6858000"/>
              <a:gd name="connsiteX4" fmla="*/ 1875099 w 6613525"/>
              <a:gd name="connsiteY4" fmla="*/ 0 h 6858000"/>
              <a:gd name="connsiteX0" fmla="*/ 1840375 w 6578801"/>
              <a:gd name="connsiteY0" fmla="*/ 0 h 6869575"/>
              <a:gd name="connsiteX1" fmla="*/ 6578801 w 6578801"/>
              <a:gd name="connsiteY1" fmla="*/ 0 h 6869575"/>
              <a:gd name="connsiteX2" fmla="*/ 6578801 w 6578801"/>
              <a:gd name="connsiteY2" fmla="*/ 6858000 h 6869575"/>
              <a:gd name="connsiteX3" fmla="*/ 0 w 6578801"/>
              <a:gd name="connsiteY3" fmla="*/ 6869575 h 6869575"/>
              <a:gd name="connsiteX4" fmla="*/ 1840375 w 6578801"/>
              <a:gd name="connsiteY4" fmla="*/ 0 h 686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78801" h="6869575">
                <a:moveTo>
                  <a:pt x="1840375" y="0"/>
                </a:moveTo>
                <a:lnTo>
                  <a:pt x="6578801" y="0"/>
                </a:lnTo>
                <a:lnTo>
                  <a:pt x="6578801" y="6858000"/>
                </a:lnTo>
                <a:lnTo>
                  <a:pt x="0" y="6869575"/>
                </a:lnTo>
                <a:lnTo>
                  <a:pt x="1840375" y="0"/>
                </a:lnTo>
                <a:close/>
              </a:path>
            </a:pathLst>
          </a:custGeom>
        </p:spPr>
        <p:txBody>
          <a:bodyPr tIns="274320" rIns="274320">
            <a:normAutofit/>
          </a:bodyPr>
          <a:lstStyle>
            <a:lvl1pPr marL="0" indent="0" algn="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C45A11E-9896-BD8B-8CC6-A79C124D8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86022B-53D6-6CE0-2093-873FC64A5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D4BD8F-684C-A145-3376-9E69B0E5B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802775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E7C1DA9-2A25-EE21-085B-8857DC1AD7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59925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236BB3-E567-A8A9-5EC2-BCEF79CFC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59400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87C9F-C765-C63C-951E-70721DDACD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11575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4425665-0C9C-3899-9DB9-ED05D91E2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6812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330405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137059"/>
            <a:ext cx="2816352" cy="398624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500"/>
              </a:spcAft>
              <a:buNone/>
              <a:defRPr sz="1800"/>
            </a:lvl1pPr>
            <a:lvl2pPr>
              <a:spcBef>
                <a:spcPts val="1000"/>
              </a:spcBef>
              <a:spcAft>
                <a:spcPts val="500"/>
              </a:spcAft>
              <a:defRPr sz="1600"/>
            </a:lvl2pPr>
            <a:lvl3pPr>
              <a:spcBef>
                <a:spcPts val="1000"/>
              </a:spcBef>
              <a:spcAft>
                <a:spcPts val="500"/>
              </a:spcAft>
              <a:defRPr sz="1400"/>
            </a:lvl3pPr>
            <a:lvl4pPr>
              <a:spcBef>
                <a:spcPts val="1000"/>
              </a:spcBef>
              <a:spcAft>
                <a:spcPts val="500"/>
              </a:spcAft>
              <a:defRPr sz="1200"/>
            </a:lvl4pPr>
            <a:lvl5pPr>
              <a:spcBef>
                <a:spcPts val="1000"/>
              </a:spcBef>
              <a:spcAft>
                <a:spcPts val="500"/>
              </a:spcAft>
              <a:defRPr sz="12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09014" y="2137059"/>
            <a:ext cx="7059592" cy="398624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dirty="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49C8ABD-000F-7A94-A7B0-9589F4FEFD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C3A554-E5A9-B3CB-913D-45DBFBA79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E3A8DF3-F55A-2494-C55D-8FB94BBC6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802775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9DC86E-6F8A-B036-5CB2-AA8A79837F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59925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B9E0C03-C633-9356-4E28-678BAB7AE0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59400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C8A4F7-6C4C-719B-298F-3B81223D1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11575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E7E5D8B-D6BC-19AE-C0C9-249A556170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6812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7A6C5266-7ECA-B150-2C0F-8670F43AC82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8200" y="1987669"/>
            <a:ext cx="6974711" cy="429767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None/>
              <a:defRPr sz="1800"/>
            </a:lvl1pPr>
            <a:lvl2pPr>
              <a:spcBef>
                <a:spcPts val="1000"/>
              </a:spcBef>
              <a:spcAft>
                <a:spcPts val="500"/>
              </a:spcAft>
              <a:defRPr sz="1800"/>
            </a:lvl2pPr>
            <a:lvl3pPr>
              <a:spcBef>
                <a:spcPts val="1000"/>
              </a:spcBef>
              <a:spcAft>
                <a:spcPts val="500"/>
              </a:spcAft>
              <a:defRPr sz="1800"/>
            </a:lvl3pPr>
            <a:lvl4pPr>
              <a:spcBef>
                <a:spcPts val="1000"/>
              </a:spcBef>
              <a:spcAft>
                <a:spcPts val="500"/>
              </a:spcAft>
              <a:defRPr sz="1800"/>
            </a:lvl4pPr>
            <a:lvl5pPr>
              <a:spcBef>
                <a:spcPts val="1000"/>
              </a:spcBef>
              <a:spcAft>
                <a:spcPts val="500"/>
              </a:spcAft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DFB03A-367B-9ADA-8071-E22871EC115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17085" y="1987670"/>
            <a:ext cx="3436716" cy="4297680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500"/>
              </a:spcAft>
              <a:buNone/>
              <a:defRPr sz="1800"/>
            </a:lvl1pPr>
            <a:lvl2pPr>
              <a:spcBef>
                <a:spcPts val="1000"/>
              </a:spcBef>
              <a:spcAft>
                <a:spcPts val="500"/>
              </a:spcAft>
              <a:defRPr sz="1600"/>
            </a:lvl2pPr>
            <a:lvl3pPr>
              <a:spcBef>
                <a:spcPts val="1000"/>
              </a:spcBef>
              <a:spcAft>
                <a:spcPts val="500"/>
              </a:spcAft>
              <a:defRPr sz="1400"/>
            </a:lvl3pPr>
            <a:lvl4pPr>
              <a:spcBef>
                <a:spcPts val="1000"/>
              </a:spcBef>
              <a:spcAft>
                <a:spcPts val="500"/>
              </a:spcAft>
              <a:defRPr sz="1200"/>
            </a:lvl4pPr>
            <a:lvl5pPr>
              <a:spcBef>
                <a:spcPts val="1000"/>
              </a:spcBef>
              <a:spcAft>
                <a:spcPts val="500"/>
              </a:spcAft>
              <a:defRPr sz="12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588714-FE55-FCEF-78C2-2A4D11ECD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F6BF02-4CD8-261B-BE58-05677EB947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1575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AF1F17-7A1F-BCA2-15C0-417928B4E7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802775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0ADE0B-D150-E72B-EE9A-E5EFDBC6F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59925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BCDD5A-A3C4-DF4F-74AD-CAF0F465BD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59400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9430AE4-C878-DFAB-EDA5-36B97176D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11575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61487B2-0348-2FFC-03FB-6508B6FD3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6812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838199" y="2125262"/>
            <a:ext cx="10515600" cy="3675944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1843C0D-8C0B-0B3C-7014-7B7217C008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48350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B715CF-E60F-DDAE-369E-BCC2CE4FF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47825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BD8F5F-4228-6BB9-5EA6-553590898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0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F721F95-97C0-7151-B9F6-C088CEA1A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-4763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78AD50A-9C6A-454B-0CAD-EAB5184401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" y="0"/>
            <a:ext cx="7816995" cy="6858000"/>
          </a:xfrm>
          <a:custGeom>
            <a:avLst/>
            <a:gdLst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0 w 7813675"/>
              <a:gd name="connsiteY3" fmla="*/ 6903720 h 6903720"/>
              <a:gd name="connsiteX4" fmla="*/ 0 w 7813675"/>
              <a:gd name="connsiteY4" fmla="*/ 0 h 6903720"/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798854 w 7813675"/>
              <a:gd name="connsiteY3" fmla="*/ 6867163 h 6903720"/>
              <a:gd name="connsiteX4" fmla="*/ 0 w 7813675"/>
              <a:gd name="connsiteY4" fmla="*/ 6903720 h 6903720"/>
              <a:gd name="connsiteX5" fmla="*/ 0 w 7813675"/>
              <a:gd name="connsiteY5" fmla="*/ 0 h 6903720"/>
              <a:gd name="connsiteX0" fmla="*/ 0 w 7813675"/>
              <a:gd name="connsiteY0" fmla="*/ 0 h 6907803"/>
              <a:gd name="connsiteX1" fmla="*/ 7813675 w 7813675"/>
              <a:gd name="connsiteY1" fmla="*/ 0 h 6907803"/>
              <a:gd name="connsiteX2" fmla="*/ 7813675 w 7813675"/>
              <a:gd name="connsiteY2" fmla="*/ 6903720 h 6907803"/>
              <a:gd name="connsiteX3" fmla="*/ 809014 w 7813675"/>
              <a:gd name="connsiteY3" fmla="*/ 6907803 h 6907803"/>
              <a:gd name="connsiteX4" fmla="*/ 0 w 7813675"/>
              <a:gd name="connsiteY4" fmla="*/ 6903720 h 6907803"/>
              <a:gd name="connsiteX5" fmla="*/ 0 w 7813675"/>
              <a:gd name="connsiteY5" fmla="*/ 0 h 6907803"/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809014 w 7813675"/>
              <a:gd name="connsiteY3" fmla="*/ 6887483 h 6903720"/>
              <a:gd name="connsiteX4" fmla="*/ 0 w 7813675"/>
              <a:gd name="connsiteY4" fmla="*/ 6903720 h 6903720"/>
              <a:gd name="connsiteX5" fmla="*/ 0 w 7813675"/>
              <a:gd name="connsiteY5" fmla="*/ 0 h 6903720"/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809014 w 7813675"/>
              <a:gd name="connsiteY3" fmla="*/ 6887483 h 6903720"/>
              <a:gd name="connsiteX4" fmla="*/ 0 w 7813675"/>
              <a:gd name="connsiteY4" fmla="*/ 6903720 h 6903720"/>
              <a:gd name="connsiteX5" fmla="*/ 0 w 7813675"/>
              <a:gd name="connsiteY5" fmla="*/ 0 h 6903720"/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809014 w 7813675"/>
              <a:gd name="connsiteY3" fmla="*/ 6898913 h 6903720"/>
              <a:gd name="connsiteX4" fmla="*/ 0 w 7813675"/>
              <a:gd name="connsiteY4" fmla="*/ 6903720 h 6903720"/>
              <a:gd name="connsiteX5" fmla="*/ 0 w 7813675"/>
              <a:gd name="connsiteY5" fmla="*/ 0 h 6903720"/>
              <a:gd name="connsiteX0" fmla="*/ 0 w 7813675"/>
              <a:gd name="connsiteY0" fmla="*/ 0 h 6903720"/>
              <a:gd name="connsiteX1" fmla="*/ 7813675 w 7813675"/>
              <a:gd name="connsiteY1" fmla="*/ 0 h 6903720"/>
              <a:gd name="connsiteX2" fmla="*/ 7813675 w 7813675"/>
              <a:gd name="connsiteY2" fmla="*/ 6903720 h 6903720"/>
              <a:gd name="connsiteX3" fmla="*/ 740434 w 7813675"/>
              <a:gd name="connsiteY3" fmla="*/ 6898913 h 6903720"/>
              <a:gd name="connsiteX4" fmla="*/ 0 w 7813675"/>
              <a:gd name="connsiteY4" fmla="*/ 6903720 h 6903720"/>
              <a:gd name="connsiteX5" fmla="*/ 0 w 7813675"/>
              <a:gd name="connsiteY5" fmla="*/ 0 h 6903720"/>
              <a:gd name="connsiteX0" fmla="*/ 0 w 7813675"/>
              <a:gd name="connsiteY0" fmla="*/ 0 h 6907385"/>
              <a:gd name="connsiteX1" fmla="*/ 7813675 w 7813675"/>
              <a:gd name="connsiteY1" fmla="*/ 0 h 6907385"/>
              <a:gd name="connsiteX2" fmla="*/ 7813675 w 7813675"/>
              <a:gd name="connsiteY2" fmla="*/ 6903720 h 6907385"/>
              <a:gd name="connsiteX3" fmla="*/ 6359380 w 7813675"/>
              <a:gd name="connsiteY3" fmla="*/ 6907385 h 6907385"/>
              <a:gd name="connsiteX4" fmla="*/ 740434 w 7813675"/>
              <a:gd name="connsiteY4" fmla="*/ 6898913 h 6907385"/>
              <a:gd name="connsiteX5" fmla="*/ 0 w 7813675"/>
              <a:gd name="connsiteY5" fmla="*/ 6903720 h 6907385"/>
              <a:gd name="connsiteX6" fmla="*/ 0 w 7813675"/>
              <a:gd name="connsiteY6" fmla="*/ 0 h 6907385"/>
              <a:gd name="connsiteX0" fmla="*/ 3320 w 7816995"/>
              <a:gd name="connsiteY0" fmla="*/ 0 h 6907385"/>
              <a:gd name="connsiteX1" fmla="*/ 7816995 w 7816995"/>
              <a:gd name="connsiteY1" fmla="*/ 0 h 6907385"/>
              <a:gd name="connsiteX2" fmla="*/ 7816995 w 7816995"/>
              <a:gd name="connsiteY2" fmla="*/ 6903720 h 6907385"/>
              <a:gd name="connsiteX3" fmla="*/ 6362700 w 7816995"/>
              <a:gd name="connsiteY3" fmla="*/ 6907385 h 6907385"/>
              <a:gd name="connsiteX4" fmla="*/ 743754 w 7816995"/>
              <a:gd name="connsiteY4" fmla="*/ 6898913 h 6907385"/>
              <a:gd name="connsiteX5" fmla="*/ 3320 w 7816995"/>
              <a:gd name="connsiteY5" fmla="*/ 6903720 h 6907385"/>
              <a:gd name="connsiteX6" fmla="*/ 0 w 7816995"/>
              <a:gd name="connsiteY6" fmla="*/ 2510645 h 6907385"/>
              <a:gd name="connsiteX7" fmla="*/ 3320 w 7816995"/>
              <a:gd name="connsiteY7" fmla="*/ 0 h 6907385"/>
              <a:gd name="connsiteX0" fmla="*/ 3320 w 7816995"/>
              <a:gd name="connsiteY0" fmla="*/ 0 h 6907385"/>
              <a:gd name="connsiteX1" fmla="*/ 7816995 w 7816995"/>
              <a:gd name="connsiteY1" fmla="*/ 0 h 6907385"/>
              <a:gd name="connsiteX2" fmla="*/ 7816995 w 7816995"/>
              <a:gd name="connsiteY2" fmla="*/ 6903720 h 6907385"/>
              <a:gd name="connsiteX3" fmla="*/ 6362700 w 7816995"/>
              <a:gd name="connsiteY3" fmla="*/ 6907385 h 6907385"/>
              <a:gd name="connsiteX4" fmla="*/ 743754 w 7816995"/>
              <a:gd name="connsiteY4" fmla="*/ 6898913 h 6907385"/>
              <a:gd name="connsiteX5" fmla="*/ 2876060 w 7816995"/>
              <a:gd name="connsiteY5" fmla="*/ 4644390 h 6907385"/>
              <a:gd name="connsiteX6" fmla="*/ 0 w 7816995"/>
              <a:gd name="connsiteY6" fmla="*/ 2510645 h 6907385"/>
              <a:gd name="connsiteX7" fmla="*/ 3320 w 7816995"/>
              <a:gd name="connsiteY7" fmla="*/ 0 h 6907385"/>
              <a:gd name="connsiteX0" fmla="*/ 3320 w 7816995"/>
              <a:gd name="connsiteY0" fmla="*/ 0 h 6907385"/>
              <a:gd name="connsiteX1" fmla="*/ 7816995 w 7816995"/>
              <a:gd name="connsiteY1" fmla="*/ 0 h 6907385"/>
              <a:gd name="connsiteX2" fmla="*/ 7816995 w 7816995"/>
              <a:gd name="connsiteY2" fmla="*/ 6903720 h 6907385"/>
              <a:gd name="connsiteX3" fmla="*/ 6362700 w 7816995"/>
              <a:gd name="connsiteY3" fmla="*/ 6907385 h 6907385"/>
              <a:gd name="connsiteX4" fmla="*/ 743754 w 7816995"/>
              <a:gd name="connsiteY4" fmla="*/ 6898913 h 6907385"/>
              <a:gd name="connsiteX5" fmla="*/ 2876060 w 7816995"/>
              <a:gd name="connsiteY5" fmla="*/ 4644390 h 6907385"/>
              <a:gd name="connsiteX6" fmla="*/ 0 w 7816995"/>
              <a:gd name="connsiteY6" fmla="*/ 2510645 h 6907385"/>
              <a:gd name="connsiteX7" fmla="*/ 3320 w 7816995"/>
              <a:gd name="connsiteY7" fmla="*/ 0 h 6907385"/>
              <a:gd name="connsiteX0" fmla="*/ 3320 w 7816995"/>
              <a:gd name="connsiteY0" fmla="*/ 0 h 6907385"/>
              <a:gd name="connsiteX1" fmla="*/ 7816995 w 7816995"/>
              <a:gd name="connsiteY1" fmla="*/ 0 h 6907385"/>
              <a:gd name="connsiteX2" fmla="*/ 7816995 w 7816995"/>
              <a:gd name="connsiteY2" fmla="*/ 6903720 h 6907385"/>
              <a:gd name="connsiteX3" fmla="*/ 6362700 w 7816995"/>
              <a:gd name="connsiteY3" fmla="*/ 6907385 h 6907385"/>
              <a:gd name="connsiteX4" fmla="*/ 743754 w 7816995"/>
              <a:gd name="connsiteY4" fmla="*/ 6898913 h 6907385"/>
              <a:gd name="connsiteX5" fmla="*/ 2876060 w 7816995"/>
              <a:gd name="connsiteY5" fmla="*/ 4644390 h 6907385"/>
              <a:gd name="connsiteX6" fmla="*/ 0 w 7816995"/>
              <a:gd name="connsiteY6" fmla="*/ 2510645 h 6907385"/>
              <a:gd name="connsiteX7" fmla="*/ 3320 w 7816995"/>
              <a:gd name="connsiteY7" fmla="*/ 0 h 6907385"/>
              <a:gd name="connsiteX0" fmla="*/ 3320 w 7816995"/>
              <a:gd name="connsiteY0" fmla="*/ 0 h 6907385"/>
              <a:gd name="connsiteX1" fmla="*/ 7816995 w 7816995"/>
              <a:gd name="connsiteY1" fmla="*/ 0 h 6907385"/>
              <a:gd name="connsiteX2" fmla="*/ 2899555 w 7816995"/>
              <a:gd name="connsiteY2" fmla="*/ 4648200 h 6907385"/>
              <a:gd name="connsiteX3" fmla="*/ 6362700 w 7816995"/>
              <a:gd name="connsiteY3" fmla="*/ 6907385 h 6907385"/>
              <a:gd name="connsiteX4" fmla="*/ 743754 w 7816995"/>
              <a:gd name="connsiteY4" fmla="*/ 6898913 h 6907385"/>
              <a:gd name="connsiteX5" fmla="*/ 2876060 w 7816995"/>
              <a:gd name="connsiteY5" fmla="*/ 4644390 h 6907385"/>
              <a:gd name="connsiteX6" fmla="*/ 0 w 7816995"/>
              <a:gd name="connsiteY6" fmla="*/ 2510645 h 6907385"/>
              <a:gd name="connsiteX7" fmla="*/ 3320 w 7816995"/>
              <a:gd name="connsiteY7" fmla="*/ 0 h 690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16995" h="6907385">
                <a:moveTo>
                  <a:pt x="3320" y="0"/>
                </a:moveTo>
                <a:lnTo>
                  <a:pt x="7816995" y="0"/>
                </a:lnTo>
                <a:lnTo>
                  <a:pt x="2899555" y="4648200"/>
                </a:lnTo>
                <a:lnTo>
                  <a:pt x="6362700" y="6907385"/>
                </a:lnTo>
                <a:lnTo>
                  <a:pt x="743754" y="6898913"/>
                </a:lnTo>
                <a:lnTo>
                  <a:pt x="2876060" y="4644390"/>
                </a:lnTo>
                <a:cubicBezTo>
                  <a:pt x="1610033" y="3689302"/>
                  <a:pt x="1117437" y="3324763"/>
                  <a:pt x="0" y="2510645"/>
                </a:cubicBezTo>
                <a:cubicBezTo>
                  <a:pt x="1107" y="1673763"/>
                  <a:pt x="2213" y="836882"/>
                  <a:pt x="3320" y="0"/>
                </a:cubicBezTo>
                <a:close/>
              </a:path>
            </a:pathLst>
          </a:custGeom>
          <a:solidFill>
            <a:schemeClr val="tx2"/>
          </a:solidFill>
          <a:ln w="22225">
            <a:noFill/>
          </a:ln>
        </p:spPr>
        <p:txBody>
          <a:bodyPr lIns="274320" tIns="274320"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92" y="731562"/>
            <a:ext cx="4902843" cy="3526778"/>
          </a:xfrm>
          <a:noFill/>
        </p:spPr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0992" y="4373217"/>
            <a:ext cx="4902843" cy="1753221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1000"/>
              </a:spcBef>
              <a:buNone/>
              <a:defRPr sz="1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10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0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100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E1BBEEFE-AE8A-8083-54B6-DBE9BC0E9F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863" y="0"/>
            <a:ext cx="4658392" cy="6858000"/>
          </a:xfrm>
          <a:custGeom>
            <a:avLst/>
            <a:gdLst>
              <a:gd name="connsiteX0" fmla="*/ 0 w 4658392"/>
              <a:gd name="connsiteY0" fmla="*/ 0 h 6858000"/>
              <a:gd name="connsiteX1" fmla="*/ 4658392 w 4658392"/>
              <a:gd name="connsiteY1" fmla="*/ 0 h 6858000"/>
              <a:gd name="connsiteX2" fmla="*/ 2820797 w 4658392"/>
              <a:gd name="connsiteY2" fmla="*/ 6858000 h 6858000"/>
              <a:gd name="connsiteX3" fmla="*/ 0 w 4658392"/>
              <a:gd name="connsiteY3" fmla="*/ 6858000 h 6858000"/>
              <a:gd name="connsiteX4" fmla="*/ 0 w 465839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8392" h="6858000">
                <a:moveTo>
                  <a:pt x="0" y="0"/>
                </a:moveTo>
                <a:lnTo>
                  <a:pt x="4658392" y="0"/>
                </a:lnTo>
                <a:lnTo>
                  <a:pt x="282079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4FF31D-04D7-B1F4-53B1-AA4170602E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F040EF-92FF-AEA1-BBA6-A4B739E119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CA59A84-C321-FDF9-555F-1FB322EBBC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9286"/>
            <a:ext cx="3200400" cy="5617193"/>
          </a:xfrm>
        </p:spPr>
        <p:txBody>
          <a:bodyPr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23412" y="509286"/>
            <a:ext cx="4328932" cy="5617194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60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40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20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2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60CD5A6-A0E4-A658-65B1-0D6C053316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548813" y="-22860"/>
            <a:ext cx="2651760" cy="6903720"/>
          </a:xfrm>
        </p:spPr>
        <p:txBody>
          <a:bodyPr lIns="182880" tIns="274320" rIns="18288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EC6AF9-CC07-5258-9160-8C6391530C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C6DCCE-3025-75FB-9405-8D51DCD63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0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516CCC3-736F-49AC-F079-9A090DAA8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-4763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3BF578A-ADDB-6713-E5AD-0FF27EDC2E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076C4EAC-BBDE-1963-BD72-3BD2A47DC5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743671"/>
            <a:ext cx="9144000" cy="3361254"/>
          </a:xfrm>
        </p:spPr>
        <p:txBody>
          <a:bodyPr anchor="b">
            <a:noAutofit/>
          </a:bodyPr>
          <a:lstStyle>
            <a:lvl1pPr algn="ctr">
              <a:defRPr sz="4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592AF4F-2F83-7005-B3AC-6FCC7FB191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7620" y="4766434"/>
            <a:ext cx="12207240" cy="2121408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8420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3CF0EA4-D201-44E7-3558-D05CB4233E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A643EA3-ACAA-539C-A041-266A895A2B1C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681E18B-2347-8DB6-2A7F-3EAC100A4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5072" y="528320"/>
            <a:ext cx="5028566" cy="3354992"/>
          </a:xfrm>
        </p:spPr>
        <p:txBody>
          <a:bodyPr anchor="b">
            <a:noAutofit/>
          </a:bodyPr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5072" y="4027992"/>
            <a:ext cx="5028565" cy="1894972"/>
          </a:xfrm>
        </p:spPr>
        <p:txBody>
          <a:bodyPr>
            <a:noAutofit/>
          </a:bodyPr>
          <a:lstStyle>
            <a:lvl1pPr marL="0" indent="0" algn="l"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A872EE9-FDFB-95A7-3547-DCAA0B51FE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7326" y="-11576"/>
            <a:ext cx="4946249" cy="6903720"/>
          </a:xfrm>
          <a:custGeom>
            <a:avLst/>
            <a:gdLst>
              <a:gd name="connsiteX0" fmla="*/ 0 w 4977139"/>
              <a:gd name="connsiteY0" fmla="*/ 0 h 6858000"/>
              <a:gd name="connsiteX1" fmla="*/ 4977139 w 4977139"/>
              <a:gd name="connsiteY1" fmla="*/ 0 h 6858000"/>
              <a:gd name="connsiteX2" fmla="*/ 4977139 w 4977139"/>
              <a:gd name="connsiteY2" fmla="*/ 6858000 h 6858000"/>
              <a:gd name="connsiteX3" fmla="*/ 0 w 4977139"/>
              <a:gd name="connsiteY3" fmla="*/ 6858000 h 6858000"/>
              <a:gd name="connsiteX4" fmla="*/ 0 w 4977139"/>
              <a:gd name="connsiteY4" fmla="*/ 0 h 6858000"/>
              <a:gd name="connsiteX0" fmla="*/ 0 w 4977139"/>
              <a:gd name="connsiteY0" fmla="*/ 0 h 6892724"/>
              <a:gd name="connsiteX1" fmla="*/ 4977139 w 4977139"/>
              <a:gd name="connsiteY1" fmla="*/ 0 h 6892724"/>
              <a:gd name="connsiteX2" fmla="*/ 4977139 w 4977139"/>
              <a:gd name="connsiteY2" fmla="*/ 6858000 h 6892724"/>
              <a:gd name="connsiteX3" fmla="*/ 1863524 w 4977139"/>
              <a:gd name="connsiteY3" fmla="*/ 6892724 h 6892724"/>
              <a:gd name="connsiteX4" fmla="*/ 0 w 4977139"/>
              <a:gd name="connsiteY4" fmla="*/ 0 h 6892724"/>
              <a:gd name="connsiteX0" fmla="*/ 0 w 4977139"/>
              <a:gd name="connsiteY0" fmla="*/ 0 h 6892724"/>
              <a:gd name="connsiteX1" fmla="*/ 4977139 w 4977139"/>
              <a:gd name="connsiteY1" fmla="*/ 0 h 6892724"/>
              <a:gd name="connsiteX2" fmla="*/ 4977139 w 4977139"/>
              <a:gd name="connsiteY2" fmla="*/ 6892724 h 6892724"/>
              <a:gd name="connsiteX3" fmla="*/ 1863524 w 4977139"/>
              <a:gd name="connsiteY3" fmla="*/ 6892724 h 6892724"/>
              <a:gd name="connsiteX4" fmla="*/ 0 w 4977139"/>
              <a:gd name="connsiteY4" fmla="*/ 0 h 6892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7139" h="6892724">
                <a:moveTo>
                  <a:pt x="0" y="0"/>
                </a:moveTo>
                <a:lnTo>
                  <a:pt x="4977139" y="0"/>
                </a:lnTo>
                <a:lnTo>
                  <a:pt x="4977139" y="6892724"/>
                </a:lnTo>
                <a:lnTo>
                  <a:pt x="1863524" y="6892724"/>
                </a:lnTo>
                <a:lnTo>
                  <a:pt x="0" y="0"/>
                </a:lnTo>
                <a:close/>
              </a:path>
            </a:pathLst>
          </a:custGeom>
        </p:spPr>
        <p:txBody>
          <a:bodyPr tIns="274320" rIns="274320">
            <a:normAutofit/>
          </a:bodyPr>
          <a:lstStyle>
            <a:lvl1pPr marL="0" indent="0" algn="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6CBD635-4863-B127-5668-D2C7DA8CD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1629720-DD91-8012-686D-AABA439870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0911820" y="0"/>
            <a:ext cx="913577" cy="68580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70117" y="185195"/>
            <a:ext cx="6930838" cy="150549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B27827-7491-B1C2-D9C5-975A9FF66E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8788" y="-22860"/>
            <a:ext cx="3291840" cy="6903720"/>
          </a:xfrm>
        </p:spPr>
        <p:txBody>
          <a:bodyPr lIns="182880" tIns="274320" rIns="18288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D4D4555-A25D-09B6-36AF-5977189F2DD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70116" y="2022395"/>
            <a:ext cx="6941703" cy="429768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/>
            </a:lvl1pPr>
            <a:lvl2pPr>
              <a:spcBef>
                <a:spcPts val="1000"/>
              </a:spcBef>
              <a:spcAft>
                <a:spcPts val="1500"/>
              </a:spcAft>
              <a:defRPr sz="1800"/>
            </a:lvl2pPr>
            <a:lvl3pPr>
              <a:spcBef>
                <a:spcPts val="1000"/>
              </a:spcBef>
              <a:spcAft>
                <a:spcPts val="1500"/>
              </a:spcAft>
              <a:defRPr sz="1800"/>
            </a:lvl3pPr>
            <a:lvl4pPr>
              <a:spcBef>
                <a:spcPts val="1000"/>
              </a:spcBef>
              <a:spcAft>
                <a:spcPts val="1500"/>
              </a:spcAft>
              <a:defRPr sz="1800"/>
            </a:lvl4pPr>
            <a:lvl5pPr>
              <a:spcBef>
                <a:spcPts val="1000"/>
              </a:spcBef>
              <a:spcAft>
                <a:spcPts val="1500"/>
              </a:spcAft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0">
            <a:extLst>
              <a:ext uri="{FF2B5EF4-FFF2-40B4-BE49-F238E27FC236}">
                <a16:creationId xmlns:a16="http://schemas.microsoft.com/office/drawing/2014/main" id="{C4293765-78A6-5206-26C2-E8817B283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470792" cy="6858000"/>
          </a:xfrm>
          <a:custGeom>
            <a:avLst/>
            <a:gdLst>
              <a:gd name="connsiteX0" fmla="*/ 0 w 7470792"/>
              <a:gd name="connsiteY0" fmla="*/ 0 h 6858000"/>
              <a:gd name="connsiteX1" fmla="*/ 7470792 w 7470792"/>
              <a:gd name="connsiteY1" fmla="*/ 0 h 6858000"/>
              <a:gd name="connsiteX2" fmla="*/ 5633197 w 7470792"/>
              <a:gd name="connsiteY2" fmla="*/ 6858000 h 6858000"/>
              <a:gd name="connsiteX3" fmla="*/ 0 w 74707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70792" h="6858000">
                <a:moveTo>
                  <a:pt x="0" y="0"/>
                </a:moveTo>
                <a:lnTo>
                  <a:pt x="7470792" y="0"/>
                </a:lnTo>
                <a:lnTo>
                  <a:pt x="563319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n>
                <a:noFill/>
              </a:ln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4E351F-7451-86A3-5271-0D00B9EFA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860223-A40E-30ED-6832-0825A930B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B6907E-F17B-783E-D454-DFC62D0977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6B12211-7E94-9534-6F2D-2AFD2EBE36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48350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580245-E985-EC3F-9385-D0F517F0C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47825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5A82A3-E3DF-978F-4BD7-10E0F1075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0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EDC40AE-D1CB-7535-22E2-E6D910FB8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-4763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685800"/>
            <a:ext cx="9144000" cy="3136738"/>
          </a:xfrm>
        </p:spPr>
        <p:txBody>
          <a:bodyPr anchor="b">
            <a:noAutofit/>
          </a:bodyPr>
          <a:lstStyle>
            <a:lvl1pPr algn="ctr">
              <a:defRPr sz="4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78800"/>
            <a:ext cx="9144000" cy="1965960"/>
          </a:xfrm>
        </p:spPr>
        <p:txBody>
          <a:bodyPr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E49FCE-658C-FF5A-6405-3D10F1AC1B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03C516-D418-5E3E-1E4E-1DF8464338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7BF5B15-0E8A-A82C-6E9C-FCF3FBAAD4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4B33CA-9490-C8E1-FE4F-06367AF29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48350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586824F-3198-FE44-5A4A-70312048DA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47825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058CD71-6E97-B6A9-11B6-867ED408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0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E9FDAA6-BDE8-D6C3-17CD-F87BFB54F5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-4763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2A0738D-E9A9-14B7-4739-62E402B0C2D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4961" y="2032663"/>
            <a:ext cx="4463005" cy="4067492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500"/>
              </a:spcAft>
              <a:buNone/>
              <a:defRPr sz="1800"/>
            </a:lvl1pPr>
            <a:lvl2pPr marL="0">
              <a:spcBef>
                <a:spcPts val="1000"/>
              </a:spcBef>
              <a:spcAft>
                <a:spcPts val="500"/>
              </a:spcAft>
              <a:defRPr sz="1800"/>
            </a:lvl2pPr>
            <a:lvl3pPr marL="457200">
              <a:spcBef>
                <a:spcPts val="1000"/>
              </a:spcBef>
              <a:spcAft>
                <a:spcPts val="500"/>
              </a:spcAft>
              <a:defRPr sz="1800"/>
            </a:lvl3pPr>
            <a:lvl4pPr marL="685800">
              <a:spcBef>
                <a:spcPts val="1000"/>
              </a:spcBef>
              <a:spcAft>
                <a:spcPts val="500"/>
              </a:spcAft>
              <a:defRPr sz="1800"/>
            </a:lvl4pPr>
            <a:lvl5pPr marL="914400">
              <a:spcBef>
                <a:spcPts val="1000"/>
              </a:spcBef>
              <a:spcAft>
                <a:spcPts val="500"/>
              </a:spcAft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766D4CB-8BCE-C6EE-EF57-A8A819EBD36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41720" y="2032663"/>
            <a:ext cx="5212080" cy="4067492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500"/>
              </a:spcAft>
              <a:buNone/>
              <a:defRPr sz="1800"/>
            </a:lvl1pPr>
            <a:lvl2pPr marL="0">
              <a:spcBef>
                <a:spcPts val="1000"/>
              </a:spcBef>
              <a:spcAft>
                <a:spcPts val="500"/>
              </a:spcAft>
              <a:defRPr sz="1800"/>
            </a:lvl2pPr>
            <a:lvl3pPr marL="457200">
              <a:spcBef>
                <a:spcPts val="1000"/>
              </a:spcBef>
              <a:spcAft>
                <a:spcPts val="500"/>
              </a:spcAft>
              <a:defRPr sz="1800"/>
            </a:lvl3pPr>
            <a:lvl4pPr marL="685800">
              <a:spcBef>
                <a:spcPts val="1000"/>
              </a:spcBef>
              <a:spcAft>
                <a:spcPts val="500"/>
              </a:spcAft>
              <a:defRPr sz="1800"/>
            </a:lvl4pPr>
            <a:lvl5pPr marL="914400">
              <a:spcBef>
                <a:spcPts val="1000"/>
              </a:spcBef>
              <a:spcAft>
                <a:spcPts val="500"/>
              </a:spcAft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9208B-0FD2-A7E3-5202-0F18392AE4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4010E2-9C6F-C582-1E3A-F5D43D0FF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3D2B8AF-94DE-C211-EAE7-0971C111B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47A2AC-F284-077E-9A14-EB7D1DE627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462964" y="5848350"/>
            <a:ext cx="3729036" cy="100965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0E91F1F-5151-2442-2B89-CE0AB11785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11543158" y="1647825"/>
            <a:ext cx="648842" cy="52101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BD82AC-3C5B-819E-E0FF-157D74B840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781554" y="0"/>
            <a:ext cx="1410446" cy="425834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F299648-2E6E-FA0D-85E4-8884BE34A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529388" y="-4763"/>
            <a:ext cx="5662612" cy="9319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7BD0263-5D42-E696-F170-1F9CF5FF2A7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38199" y="2078963"/>
            <a:ext cx="3435628" cy="4067492"/>
          </a:xfrm>
        </p:spPr>
        <p:txBody>
          <a:bodyPr>
            <a:normAutofit/>
          </a:bodyPr>
          <a:lstStyle>
            <a:lvl1pPr marL="457200" indent="-457200">
              <a:spcBef>
                <a:spcPts val="1000"/>
              </a:spcBef>
              <a:spcAft>
                <a:spcPts val="500"/>
              </a:spcAft>
              <a:buFont typeface="+mj-lt"/>
              <a:buAutoNum type="arabicPeriod"/>
              <a:defRPr sz="1800"/>
            </a:lvl1pPr>
            <a:lvl2pPr marL="914400" indent="-457200">
              <a:spcBef>
                <a:spcPts val="1000"/>
              </a:spcBef>
              <a:spcAft>
                <a:spcPts val="500"/>
              </a:spcAft>
              <a:buFont typeface="+mj-lt"/>
              <a:buAutoNum type="alphaLcPeriod"/>
              <a:defRPr sz="1800"/>
            </a:lvl2pPr>
            <a:lvl3pPr marL="1371600" indent="-457200">
              <a:spcBef>
                <a:spcPts val="1000"/>
              </a:spcBef>
              <a:spcAft>
                <a:spcPts val="500"/>
              </a:spcAft>
              <a:buFont typeface="+mj-lt"/>
              <a:buAutoNum type="arabicParenR"/>
              <a:defRPr sz="1800"/>
            </a:lvl3pPr>
            <a:lvl4pPr marL="1828800" indent="-457200">
              <a:spcBef>
                <a:spcPts val="1000"/>
              </a:spcBef>
              <a:spcAft>
                <a:spcPts val="500"/>
              </a:spcAft>
              <a:buFont typeface="+mj-lt"/>
              <a:buAutoNum type="alphaLcParenR"/>
              <a:defRPr sz="1800"/>
            </a:lvl4pPr>
            <a:lvl5pPr marL="2228850" indent="-457200">
              <a:spcBef>
                <a:spcPts val="1000"/>
              </a:spcBef>
              <a:spcAft>
                <a:spcPts val="500"/>
              </a:spcAft>
              <a:buFont typeface="+mj-lt"/>
              <a:buAutoNum type="romanLcPeriod"/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1BEE7174-135F-6F9F-11B9-3C3F2F9CDEA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965539" y="2087315"/>
            <a:ext cx="6007261" cy="4067492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None/>
              <a:defRPr sz="1800"/>
            </a:lvl1pPr>
            <a:lvl2pPr marL="0">
              <a:spcBef>
                <a:spcPts val="1000"/>
              </a:spcBef>
              <a:spcAft>
                <a:spcPts val="500"/>
              </a:spcAft>
              <a:defRPr sz="1800"/>
            </a:lvl2pPr>
            <a:lvl3pPr marL="457200">
              <a:spcBef>
                <a:spcPts val="1000"/>
              </a:spcBef>
              <a:spcAft>
                <a:spcPts val="500"/>
              </a:spcAft>
              <a:defRPr sz="1800"/>
            </a:lvl3pPr>
            <a:lvl4pPr marL="685800">
              <a:spcBef>
                <a:spcPts val="1000"/>
              </a:spcBef>
              <a:spcAft>
                <a:spcPts val="500"/>
              </a:spcAft>
              <a:defRPr sz="1800"/>
            </a:lvl4pPr>
            <a:lvl5pPr marL="914400">
              <a:spcBef>
                <a:spcPts val="1000"/>
              </a:spcBef>
              <a:spcAft>
                <a:spcPts val="500"/>
              </a:spcAft>
              <a:defRPr sz="18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00B3A65-BB60-F2B4-4CF4-19A7C53F18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3119718" cy="685800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F1DB8D5-B954-BFC9-C8D8-F0491CCBE2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0"/>
            <a:ext cx="903768" cy="6543675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07D69F-27D7-2C68-A17D-3F1399C8B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-42863" y="5791200"/>
            <a:ext cx="6286501" cy="1066801"/>
          </a:xfrm>
          <a:prstGeom prst="line">
            <a:avLst/>
          </a:prstGeom>
          <a:ln w="12700">
            <a:solidFill>
              <a:schemeClr val="accent3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6645965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13049-5F46-053E-6279-8183259649A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2055813"/>
            <a:ext cx="5781261" cy="4067492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500"/>
              </a:spcAft>
              <a:buNone/>
              <a:defRPr sz="1800"/>
            </a:lvl1pPr>
            <a:lvl2pPr>
              <a:spcBef>
                <a:spcPts val="1000"/>
              </a:spcBef>
              <a:spcAft>
                <a:spcPts val="500"/>
              </a:spcAft>
              <a:defRPr sz="1600"/>
            </a:lvl2pPr>
            <a:lvl3pPr>
              <a:spcBef>
                <a:spcPts val="1000"/>
              </a:spcBef>
              <a:spcAft>
                <a:spcPts val="500"/>
              </a:spcAft>
              <a:defRPr sz="1400"/>
            </a:lvl3pPr>
            <a:lvl4pPr>
              <a:spcBef>
                <a:spcPts val="1000"/>
              </a:spcBef>
              <a:spcAft>
                <a:spcPts val="500"/>
              </a:spcAft>
              <a:defRPr sz="1200"/>
            </a:lvl4pPr>
            <a:lvl5pPr>
              <a:spcBef>
                <a:spcPts val="1000"/>
              </a:spcBef>
              <a:spcAft>
                <a:spcPts val="500"/>
              </a:spcAft>
              <a:defRPr sz="12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C013AD6-0EF3-2B25-DDBD-2DF706123A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66991" y="-22860"/>
            <a:ext cx="4625008" cy="6903720"/>
          </a:xfrm>
        </p:spPr>
        <p:txBody>
          <a:bodyPr tIns="27432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3A2C8A2-4017-31A3-CB8E-587A9E09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885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5" progId="TCLayout.ActiveDocument.1">
                  <p:embed/>
                </p:oleObj>
              </mc:Choice>
              <mc:Fallback>
                <p:oleObj name="think-cell Slide" r:id="rId1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A2C8A2-4017-31A3-CB8E-587A9E09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8" r:id="rId3"/>
    <p:sldLayoutId id="2147483659" r:id="rId4"/>
    <p:sldLayoutId id="2147483650" r:id="rId5"/>
    <p:sldLayoutId id="2147483649" r:id="rId6"/>
    <p:sldLayoutId id="2147483662" r:id="rId7"/>
    <p:sldLayoutId id="2147483663" r:id="rId8"/>
    <p:sldLayoutId id="2147483652" r:id="rId9"/>
    <p:sldLayoutId id="2147483666" r:id="rId10"/>
    <p:sldLayoutId id="2147483664" r:id="rId11"/>
    <p:sldLayoutId id="2147483665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i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C7EFC1-7836-9655-39D4-53DDD34D01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316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C7EFC1-7836-9655-39D4-53DDD34D0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noFill/>
        </p:spPr>
        <p:txBody>
          <a:bodyPr vert="horz"/>
          <a:lstStyle/>
          <a:p>
            <a:r>
              <a:rPr lang="en-US"/>
              <a:t>Project 4 – Machine Lear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ECEBD4-35BF-26BB-D438-DA43EBD5EE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noFill/>
        </p:spPr>
        <p:txBody>
          <a:bodyPr/>
          <a:lstStyle/>
          <a:p>
            <a:r>
              <a:rPr lang="en-US"/>
              <a:t>Trevor Baum &amp; Nick </a:t>
            </a:r>
            <a:r>
              <a:rPr lang="en-US" err="1"/>
              <a:t>cars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195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3FD5364-F47F-A381-5A4C-A096EE742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6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FD5364-F47F-A381-5A4C-A096EE742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A9874B-BCA9-8420-1595-EDD1865A099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en-US"/>
              <a:t>Store Sales Overview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FBB810-3430-2C29-1AA0-9744AA0A1AA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4960" y="1837679"/>
            <a:ext cx="9773856" cy="4034616"/>
          </a:xfrm>
          <a:solidFill>
            <a:schemeClr val="bg1"/>
          </a:solidFill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ataset- The data is from a grocery store chain and contains these attributes: </a:t>
            </a:r>
          </a:p>
          <a:p>
            <a:pPr marL="742950" lvl="2" indent="-285750"/>
            <a:r>
              <a:rPr lang="en-US"/>
              <a:t>Store #, Store Sales, Sq. Yd., # of items available, and daily customer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Goal – Leverage machine learning to predict store sales based on the features of the data s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tup –</a:t>
            </a:r>
          </a:p>
          <a:p>
            <a:pPr marL="742950" lvl="2" indent="-285750"/>
            <a:r>
              <a:rPr lang="en-US"/>
              <a:t>Add more data points based on existing data</a:t>
            </a:r>
          </a:p>
          <a:p>
            <a:pPr marL="742950" lvl="2" indent="-285750"/>
            <a:r>
              <a:rPr lang="en-US"/>
              <a:t>Clustered stores to see the variations between stores</a:t>
            </a:r>
          </a:p>
          <a:p>
            <a:pPr marL="742950" lvl="2" indent="-285750"/>
            <a:r>
              <a:rPr lang="en-US"/>
              <a:t>Get a better understanding of the data</a:t>
            </a:r>
          </a:p>
          <a:p>
            <a:pPr marL="742950" lvl="2" indent="-285750"/>
            <a:r>
              <a:rPr lang="en-US"/>
              <a:t>Scaled and split the data</a:t>
            </a:r>
          </a:p>
          <a:p>
            <a:pPr marL="742950" lvl="2" indent="-285750"/>
            <a:r>
              <a:rPr lang="en-US"/>
              <a:t>Test different machine learning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ttps://www.kaggle.com/datasets/surajjha101/stores-area-and-sales-data</a:t>
            </a:r>
          </a:p>
        </p:txBody>
      </p:sp>
    </p:spTree>
    <p:extLst>
      <p:ext uri="{BB962C8B-B14F-4D97-AF65-F5344CB8AC3E}">
        <p14:creationId xmlns:p14="http://schemas.microsoft.com/office/powerpoint/2010/main" val="837402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CA74F61-8DA4-0A95-ED57-E5369C9A78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906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A74F61-8DA4-0A95-ED57-E5369C9A7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4C27C8-165C-5513-DB4B-9D840097C545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en-US"/>
              <a:t>Dataset distribu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961B0CD-E4C7-0F35-E41F-D95283B959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232" y="1828451"/>
            <a:ext cx="5470879" cy="401867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34EEE44-1DE3-BE8F-5FB6-672887D7D9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4891" y="1656127"/>
            <a:ext cx="565785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609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29AB50-D743-1C76-52F6-8906DDA9E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723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29AB50-D743-1C76-52F6-8906DDA9E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582675-A4FD-3FC2-BD64-85EF3B2CE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rrelation 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2EAEAC-B6CA-DEFD-3FEF-1D3D52972B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1756003"/>
            <a:ext cx="4993433" cy="499343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061CB6F-C3B8-3E3F-3ED5-01E8B7F00E16}"/>
              </a:ext>
            </a:extLst>
          </p:cNvPr>
          <p:cNvSpPr txBox="1"/>
          <p:nvPr/>
        </p:nvSpPr>
        <p:spPr>
          <a:xfrm>
            <a:off x="7097088" y="2508308"/>
            <a:ext cx="40015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was a strong linear correlation between items available and sq. 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was a normal distribution correlation between sq ft and the other 4 metric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 rest of the variables didn’t have a strong correlation. </a:t>
            </a:r>
          </a:p>
        </p:txBody>
      </p:sp>
    </p:spTree>
    <p:extLst>
      <p:ext uri="{BB962C8B-B14F-4D97-AF65-F5344CB8AC3E}">
        <p14:creationId xmlns:p14="http://schemas.microsoft.com/office/powerpoint/2010/main" val="2987611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4B1078-DDC9-C14B-80A2-8576C05E77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496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4B1078-DDC9-C14B-80A2-8576C05E7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FC59F6-9B22-C211-4B4C-A2FD4B914C4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en-US"/>
              <a:t>Results of 4 Models </a:t>
            </a:r>
            <a:endParaRPr lang="en-US">
              <a:highlight>
                <a:srgbClr val="FFFF00"/>
              </a:highlight>
            </a:endParaRPr>
          </a:p>
        </p:txBody>
      </p:sp>
      <p:graphicFrame>
        <p:nvGraphicFramePr>
          <p:cNvPr id="19" name="Table Placeholder 3">
            <a:extLst>
              <a:ext uri="{FF2B5EF4-FFF2-40B4-BE49-F238E27FC236}">
                <a16:creationId xmlns:a16="http://schemas.microsoft.com/office/drawing/2014/main" id="{998759BF-36E2-2AC0-C9B8-88C6BF075154}"/>
              </a:ext>
            </a:extLst>
          </p:cNvPr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043034879"/>
              </p:ext>
            </p:extLst>
          </p:nvPr>
        </p:nvGraphicFramePr>
        <p:xfrm>
          <a:off x="410360" y="2316882"/>
          <a:ext cx="11241945" cy="3344644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2248389">
                  <a:extLst>
                    <a:ext uri="{9D8B030D-6E8A-4147-A177-3AD203B41FA5}">
                      <a16:colId xmlns:a16="http://schemas.microsoft.com/office/drawing/2014/main" val="2382218087"/>
                    </a:ext>
                  </a:extLst>
                </a:gridCol>
                <a:gridCol w="2248389">
                  <a:extLst>
                    <a:ext uri="{9D8B030D-6E8A-4147-A177-3AD203B41FA5}">
                      <a16:colId xmlns:a16="http://schemas.microsoft.com/office/drawing/2014/main" val="3953468724"/>
                    </a:ext>
                  </a:extLst>
                </a:gridCol>
                <a:gridCol w="2248389">
                  <a:extLst>
                    <a:ext uri="{9D8B030D-6E8A-4147-A177-3AD203B41FA5}">
                      <a16:colId xmlns:a16="http://schemas.microsoft.com/office/drawing/2014/main" val="4277526474"/>
                    </a:ext>
                  </a:extLst>
                </a:gridCol>
                <a:gridCol w="2248389">
                  <a:extLst>
                    <a:ext uri="{9D8B030D-6E8A-4147-A177-3AD203B41FA5}">
                      <a16:colId xmlns:a16="http://schemas.microsoft.com/office/drawing/2014/main" val="699575174"/>
                    </a:ext>
                  </a:extLst>
                </a:gridCol>
                <a:gridCol w="2248389">
                  <a:extLst>
                    <a:ext uri="{9D8B030D-6E8A-4147-A177-3AD203B41FA5}">
                      <a16:colId xmlns:a16="http://schemas.microsoft.com/office/drawing/2014/main" val="2438884888"/>
                    </a:ext>
                  </a:extLst>
                </a:gridCol>
              </a:tblGrid>
              <a:tr h="603320"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err="1">
                          <a:latin typeface="+mn-lt"/>
                        </a:rPr>
                        <a:t>RScore</a:t>
                      </a:r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MS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RM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No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7107962"/>
                  </a:ext>
                </a:extLst>
              </a:tr>
              <a:tr h="603320"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Linear 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-.0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304,705,2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17,4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1386868"/>
                  </a:ext>
                </a:extLst>
              </a:tr>
              <a:tr h="603320"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Random Fore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-.1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363,058,5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17,4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626418"/>
                  </a:ext>
                </a:extLst>
              </a:tr>
              <a:tr h="620284">
                <a:tc>
                  <a:txBody>
                    <a:bodyPr/>
                    <a:lstStyle/>
                    <a:p>
                      <a:pPr algn="ctr"/>
                      <a:r>
                        <a:rPr lang="en-US" b="0" i="0" err="1">
                          <a:latin typeface="+mn-lt"/>
                        </a:rPr>
                        <a:t>XGBoost</a:t>
                      </a:r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-.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416,711,5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20,4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Random state 1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2482967"/>
                  </a:ext>
                </a:extLst>
              </a:tr>
              <a:tr h="603320"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KN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-1.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620,094,37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24,9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>
                          <a:latin typeface="+mn-lt"/>
                        </a:rPr>
                        <a:t>Ran w/ 100 Epoch using </a:t>
                      </a:r>
                      <a:r>
                        <a:rPr lang="en-US" b="0" i="0" err="1">
                          <a:latin typeface="+mn-lt"/>
                        </a:rPr>
                        <a:t>relu</a:t>
                      </a:r>
                      <a:r>
                        <a:rPr lang="en-US" b="0" i="0">
                          <a:latin typeface="+mn-lt"/>
                        </a:rPr>
                        <a:t>, and linear mode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6251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4630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342D10E-F92B-E756-A1A0-8511C25E2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285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2D10E-F92B-E756-A1A0-8511C25E2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030A76-B788-B363-104E-266B7C7F720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/>
          <a:lstStyle/>
          <a:p>
            <a:r>
              <a:rPr lang="en-US"/>
              <a:t>Conclusion</a:t>
            </a:r>
            <a:endParaRPr lang="en-US">
              <a:highlight>
                <a:srgbClr val="FFFF00"/>
              </a:highlight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48542-FCE1-3AE6-C6C9-17975609DF7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8200" y="1987670"/>
            <a:ext cx="10763774" cy="4018848"/>
          </a:xfrm>
          <a:noFill/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e tried feature engineering and reviewing data from a correlation perspective, and there wasn’t a strong correlation between any of the metr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deled the coefficient to determine which features had the most significance. </a:t>
            </a:r>
          </a:p>
          <a:p>
            <a:pPr marL="971550" lvl="1" indent="-285750"/>
            <a:r>
              <a:rPr lang="en-US"/>
              <a:t>Items Available and customer per sq ft were the most important</a:t>
            </a:r>
          </a:p>
          <a:p>
            <a:pPr marL="971550" lvl="1" indent="-285750"/>
            <a:r>
              <a:rPr lang="en-US"/>
              <a:t>The rest of the features were nega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eed more data points with correlation and importance to improve accuracy score.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noProof="0"/>
          </a:p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Light"/>
                <a:ea typeface="+mn-lt"/>
                <a:cs typeface="+mn-lt"/>
              </a:rPr>
              <a:t>"All models are wrong; some are useful“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Light"/>
                <a:ea typeface="+mn-lt"/>
                <a:cs typeface="+mn-lt"/>
              </a:rPr>
              <a:t>– George E.P. Box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777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gleLinesVTI">
  <a:themeElements>
    <a:clrScheme name="Custom 43">
      <a:dk1>
        <a:srgbClr val="000000"/>
      </a:dk1>
      <a:lt1>
        <a:srgbClr val="FFFFFF"/>
      </a:lt1>
      <a:dk2>
        <a:srgbClr val="EFEBEB"/>
      </a:dk2>
      <a:lt2>
        <a:srgbClr val="E8E8E8"/>
      </a:lt2>
      <a:accent1>
        <a:srgbClr val="001D2E"/>
      </a:accent1>
      <a:accent2>
        <a:srgbClr val="145766"/>
      </a:accent2>
      <a:accent3>
        <a:srgbClr val="B99B9F"/>
      </a:accent3>
      <a:accent4>
        <a:srgbClr val="A47930"/>
      </a:accent4>
      <a:accent5>
        <a:srgbClr val="0C577C"/>
      </a:accent5>
      <a:accent6>
        <a:srgbClr val="CC836D"/>
      </a:accent6>
      <a:hlink>
        <a:srgbClr val="467886"/>
      </a:hlink>
      <a:folHlink>
        <a:srgbClr val="96607D"/>
      </a:folHlink>
    </a:clrScheme>
    <a:fontScheme name="Custom 98">
      <a:majorFont>
        <a:latin typeface="Walbaum Display Light"/>
        <a:ea typeface=""/>
        <a:cs typeface=""/>
      </a:majorFont>
      <a:minorFont>
        <a:latin typeface="Univer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ngle lines design_Win32_SL_V15" id="{7EDC6EF7-8AD3-4A22-B09A-9C2D96F216F8}" vid="{B0E828C9-6219-42BF-B63C-156B68E5CCE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20BE78-9FDF-401B-B412-3AA10EC5BEA3}">
  <ds:schemaRefs>
    <ds:schemaRef ds:uri="16c05727-aa75-4e4a-9b5f-8a80a1165891"/>
    <ds:schemaRef ds:uri="230e9df3-be65-4c73-a93b-d1236ebd677e"/>
    <ds:schemaRef ds:uri="71af3243-3dd4-4a8d-8c0d-dd76da1f02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0E62E91-3991-445A-ADE0-DB143B39320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180A77-4928-484F-9529-F716C85D6A6D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0d111c4b-49e3-4225-99d5-171502db0107}" enabled="1" method="Standard" siteId="{bcfa3e87-841e-48c7-983b-584159dd1a6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89F61958-8E76-4D92-90E8-400826A56333}tf22797433_win32</Template>
  <Application>Microsoft Office PowerPoint</Application>
  <PresentationFormat>Widescreen</PresentationFormat>
  <Slides>6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AngleLinesVTI</vt:lpstr>
      <vt:lpstr>Project 4 – Machine Learning</vt:lpstr>
      <vt:lpstr>Store Sales Overview</vt:lpstr>
      <vt:lpstr>Dataset distribution</vt:lpstr>
      <vt:lpstr>Correlation Summary</vt:lpstr>
      <vt:lpstr>Results of 4 Models 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COMING NERVOUSNESS</dc:title>
  <dc:creator>Nicholas Carson</dc:creator>
  <cp:revision>1</cp:revision>
  <dcterms:created xsi:type="dcterms:W3CDTF">2024-03-08T17:49:10Z</dcterms:created>
  <dcterms:modified xsi:type="dcterms:W3CDTF">2024-03-12T22:4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